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909" r:id="rId2"/>
    <p:sldId id="951" r:id="rId3"/>
    <p:sldId id="901" r:id="rId4"/>
    <p:sldId id="296" r:id="rId5"/>
    <p:sldId id="297" r:id="rId6"/>
    <p:sldId id="875" r:id="rId7"/>
    <p:sldId id="950" r:id="rId8"/>
    <p:sldId id="948" r:id="rId9"/>
    <p:sldId id="900" r:id="rId10"/>
    <p:sldId id="910" r:id="rId11"/>
    <p:sldId id="911" r:id="rId12"/>
    <p:sldId id="943" r:id="rId13"/>
    <p:sldId id="928" r:id="rId14"/>
    <p:sldId id="930" r:id="rId15"/>
    <p:sldId id="942" r:id="rId16"/>
    <p:sldId id="946" r:id="rId17"/>
    <p:sldId id="944" r:id="rId18"/>
    <p:sldId id="945" r:id="rId19"/>
    <p:sldId id="956" r:id="rId20"/>
    <p:sldId id="952" r:id="rId21"/>
    <p:sldId id="953" r:id="rId22"/>
    <p:sldId id="954" r:id="rId23"/>
    <p:sldId id="955" r:id="rId2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ristina Maria do Amaral Azevedo" initials="CMdAA" lastIdx="6" clrIdx="0">
    <p:extLst>
      <p:ext uri="{19B8F6BF-5375-455C-9EA6-DF929625EA0E}">
        <p15:presenceInfo xmlns:p15="http://schemas.microsoft.com/office/powerpoint/2012/main" userId="S-1-5-21-2227565984-3558592220-157872623-250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49" autoAdjust="0"/>
    <p:restoredTop sz="94660"/>
  </p:normalViewPr>
  <p:slideViewPr>
    <p:cSldViewPr snapToGrid="0">
      <p:cViewPr varScale="1">
        <p:scale>
          <a:sx n="50" d="100"/>
          <a:sy n="50" d="100"/>
        </p:scale>
        <p:origin x="48" y="6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87B635-8116-4795-BD66-798BE6234CA2}" type="datetimeFigureOut">
              <a:rPr lang="pt-BR" smtClean="0"/>
              <a:t>07/10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DEEBDD-17A9-4982-8130-EE0247A81C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96870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cc31b51cb8_0_0:notes"/>
          <p:cNvSpPr txBox="1">
            <a:spLocks noGrp="1"/>
          </p:cNvSpPr>
          <p:nvPr>
            <p:ph type="body" idx="1"/>
          </p:nvPr>
        </p:nvSpPr>
        <p:spPr>
          <a:xfrm>
            <a:off x="1005825" y="3691875"/>
            <a:ext cx="8046600" cy="349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59;gcc31b51cb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2438400" y="582613"/>
            <a:ext cx="5181600" cy="2914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270821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73" name="Google Shape;27573;p3:notes"/>
          <p:cNvSpPr txBox="1">
            <a:spLocks noGrp="1"/>
          </p:cNvSpPr>
          <p:nvPr>
            <p:ph type="body" idx="1"/>
          </p:nvPr>
        </p:nvSpPr>
        <p:spPr>
          <a:xfrm>
            <a:off x="682302" y="4773523"/>
            <a:ext cx="5455174" cy="3905698"/>
          </a:xfrm>
          <a:prstGeom prst="rect">
            <a:avLst/>
          </a:prstGeom>
        </p:spPr>
        <p:txBody>
          <a:bodyPr spcFirstLastPara="1" wrap="square" lIns="92175" tIns="46075" rIns="92175" bIns="46075" anchor="t" anchorCtr="0">
            <a:noAutofit/>
          </a:bodyPr>
          <a:lstStyle/>
          <a:p>
            <a:pPr marL="0" indent="0"/>
            <a:endParaRPr dirty="0"/>
          </a:p>
        </p:txBody>
      </p:sp>
      <p:sp>
        <p:nvSpPr>
          <p:cNvPr id="27574" name="Google Shape;2757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33388" y="1239838"/>
            <a:ext cx="5953125" cy="33480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60034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73" name="Google Shape;27573;p3:notes"/>
          <p:cNvSpPr txBox="1">
            <a:spLocks noGrp="1"/>
          </p:cNvSpPr>
          <p:nvPr>
            <p:ph type="body" idx="1"/>
          </p:nvPr>
        </p:nvSpPr>
        <p:spPr>
          <a:xfrm>
            <a:off x="682302" y="4773523"/>
            <a:ext cx="5455174" cy="3905698"/>
          </a:xfrm>
          <a:prstGeom prst="rect">
            <a:avLst/>
          </a:prstGeom>
        </p:spPr>
        <p:txBody>
          <a:bodyPr spcFirstLastPara="1" wrap="square" lIns="92175" tIns="46075" rIns="92175" bIns="46075" anchor="t" anchorCtr="0">
            <a:noAutofit/>
          </a:bodyPr>
          <a:lstStyle/>
          <a:p>
            <a:pPr marL="0" indent="0"/>
            <a:endParaRPr dirty="0"/>
          </a:p>
        </p:txBody>
      </p:sp>
      <p:sp>
        <p:nvSpPr>
          <p:cNvPr id="27574" name="Google Shape;2757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33388" y="1239838"/>
            <a:ext cx="5953125" cy="33480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995351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cc31b51cb8_0_0:notes"/>
          <p:cNvSpPr txBox="1">
            <a:spLocks noGrp="1"/>
          </p:cNvSpPr>
          <p:nvPr>
            <p:ph type="body" idx="1"/>
          </p:nvPr>
        </p:nvSpPr>
        <p:spPr>
          <a:xfrm>
            <a:off x="1005825" y="3691875"/>
            <a:ext cx="8046600" cy="349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59;gcc31b51cb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2438400" y="582613"/>
            <a:ext cx="5181600" cy="2914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048300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cc31b51cb8_0_0:notes"/>
          <p:cNvSpPr txBox="1">
            <a:spLocks noGrp="1"/>
          </p:cNvSpPr>
          <p:nvPr>
            <p:ph type="body" idx="1"/>
          </p:nvPr>
        </p:nvSpPr>
        <p:spPr>
          <a:xfrm>
            <a:off x="1005825" y="3691875"/>
            <a:ext cx="8046600" cy="349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59;gcc31b51cb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2438400" y="582613"/>
            <a:ext cx="5181600" cy="2914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55733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cc31b51cb8_0_0:notes"/>
          <p:cNvSpPr txBox="1">
            <a:spLocks noGrp="1"/>
          </p:cNvSpPr>
          <p:nvPr>
            <p:ph type="body" idx="1"/>
          </p:nvPr>
        </p:nvSpPr>
        <p:spPr>
          <a:xfrm>
            <a:off x="1005825" y="3691875"/>
            <a:ext cx="8046600" cy="349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59;gcc31b51cb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2438400" y="582613"/>
            <a:ext cx="5181600" cy="2914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1707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cc31b51cb8_0_0:notes"/>
          <p:cNvSpPr txBox="1">
            <a:spLocks noGrp="1"/>
          </p:cNvSpPr>
          <p:nvPr>
            <p:ph type="body" idx="1"/>
          </p:nvPr>
        </p:nvSpPr>
        <p:spPr>
          <a:xfrm>
            <a:off x="1005825" y="3691875"/>
            <a:ext cx="8046600" cy="349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59;gcc31b51cb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2438400" y="582613"/>
            <a:ext cx="5181600" cy="2914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48596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33BCCDD-F88C-438A-9BE4-AEF75E560CEB}"/>
              </a:ext>
            </a:extLst>
          </p:cNvPr>
          <p:cNvGrpSpPr/>
          <p:nvPr userDrawn="1"/>
        </p:nvGrpSpPr>
        <p:grpSpPr>
          <a:xfrm>
            <a:off x="0" y="5784977"/>
            <a:ext cx="12068175" cy="962025"/>
            <a:chOff x="0" y="5784977"/>
            <a:chExt cx="12068175" cy="96202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C9A13A5-62C1-427C-9022-12DA3BB1476D}"/>
                </a:ext>
              </a:extLst>
            </p:cNvPr>
            <p:cNvGrpSpPr/>
            <p:nvPr userDrawn="1"/>
          </p:nvGrpSpPr>
          <p:grpSpPr>
            <a:xfrm>
              <a:off x="0" y="5784977"/>
              <a:ext cx="12068175" cy="962025"/>
              <a:chOff x="0" y="5784977"/>
              <a:chExt cx="12068175" cy="962025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943C359-8ADE-43D4-B531-A84D2CA00D0A}"/>
                  </a:ext>
                </a:extLst>
              </p:cNvPr>
              <p:cNvSpPr/>
              <p:nvPr userDrawn="1"/>
            </p:nvSpPr>
            <p:spPr>
              <a:xfrm>
                <a:off x="0" y="5784977"/>
                <a:ext cx="12068175" cy="96202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7834CAD1-6C22-4AE6-94E7-26768714850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1443698" y="5784977"/>
                <a:ext cx="9304603" cy="946276"/>
              </a:xfrm>
              <a:prstGeom prst="rect">
                <a:avLst/>
              </a:prstGeom>
            </p:spPr>
          </p:pic>
        </p:grpSp>
        <p:pic>
          <p:nvPicPr>
            <p:cNvPr id="8" name="Picture 7" descr="Text&#10;&#10;Description automatically generated">
              <a:extLst>
                <a:ext uri="{FF2B5EF4-FFF2-40B4-BE49-F238E27FC236}">
                  <a16:creationId xmlns:a16="http://schemas.microsoft.com/office/drawing/2014/main" id="{069D40F1-29E6-4D14-9EC2-A9979CBD070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3173550" y="6086475"/>
              <a:ext cx="1874700" cy="56836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07325A1-6ADB-41BB-AFC2-2D95A4673E6A}"/>
              </a:ext>
            </a:extLst>
          </p:cNvPr>
          <p:cNvGrpSpPr/>
          <p:nvPr userDrawn="1"/>
        </p:nvGrpSpPr>
        <p:grpSpPr>
          <a:xfrm>
            <a:off x="9877425" y="0"/>
            <a:ext cx="2314575" cy="1485900"/>
            <a:chOff x="9877425" y="0"/>
            <a:chExt cx="2314575" cy="14859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8ED79FB-E75E-4555-9059-AC5049CB1F7F}"/>
                </a:ext>
              </a:extLst>
            </p:cNvPr>
            <p:cNvSpPr/>
            <p:nvPr userDrawn="1"/>
          </p:nvSpPr>
          <p:spPr>
            <a:xfrm>
              <a:off x="9877425" y="342900"/>
              <a:ext cx="2057400" cy="1143000"/>
            </a:xfrm>
            <a:prstGeom prst="rect">
              <a:avLst/>
            </a:prstGeom>
            <a:solidFill>
              <a:srgbClr val="D9F0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79B0626-ED7F-472F-AE09-9E183358160C}"/>
                </a:ext>
              </a:extLst>
            </p:cNvPr>
            <p:cNvPicPr/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210800" y="0"/>
              <a:ext cx="1981200" cy="1459865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4604645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with Impac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">
            <a:extLst>
              <a:ext uri="{FF2B5EF4-FFF2-40B4-BE49-F238E27FC236}">
                <a16:creationId xmlns:a16="http://schemas.microsoft.com/office/drawing/2014/main" id="{E3C206E4-D284-2A4D-B745-F7A9450FCD2F}"/>
              </a:ext>
            </a:extLst>
          </p:cNvPr>
          <p:cNvSpPr/>
          <p:nvPr userDrawn="1"/>
        </p:nvSpPr>
        <p:spPr>
          <a:xfrm>
            <a:off x="5062538" y="0"/>
            <a:ext cx="7129462" cy="6858000"/>
          </a:xfrm>
          <a:custGeom>
            <a:avLst/>
            <a:gdLst>
              <a:gd name="connsiteX0" fmla="*/ 0 w 4619105"/>
              <a:gd name="connsiteY0" fmla="*/ 0 h 6858000"/>
              <a:gd name="connsiteX1" fmla="*/ 4619105 w 4619105"/>
              <a:gd name="connsiteY1" fmla="*/ 0 h 6858000"/>
              <a:gd name="connsiteX2" fmla="*/ 4619105 w 4619105"/>
              <a:gd name="connsiteY2" fmla="*/ 6858000 h 6858000"/>
              <a:gd name="connsiteX3" fmla="*/ 0 w 4619105"/>
              <a:gd name="connsiteY3" fmla="*/ 6858000 h 6858000"/>
              <a:gd name="connsiteX4" fmla="*/ 0 w 4619105"/>
              <a:gd name="connsiteY4" fmla="*/ 0 h 6858000"/>
              <a:gd name="connsiteX0" fmla="*/ 2510444 w 7129549"/>
              <a:gd name="connsiteY0" fmla="*/ 0 h 6858000"/>
              <a:gd name="connsiteX1" fmla="*/ 7129549 w 7129549"/>
              <a:gd name="connsiteY1" fmla="*/ 0 h 6858000"/>
              <a:gd name="connsiteX2" fmla="*/ 7129549 w 7129549"/>
              <a:gd name="connsiteY2" fmla="*/ 6858000 h 6858000"/>
              <a:gd name="connsiteX3" fmla="*/ 0 w 7129549"/>
              <a:gd name="connsiteY3" fmla="*/ 6849687 h 6858000"/>
              <a:gd name="connsiteX4" fmla="*/ 2510444 w 7129549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29549" h="6858000">
                <a:moveTo>
                  <a:pt x="2510444" y="0"/>
                </a:moveTo>
                <a:lnTo>
                  <a:pt x="7129549" y="0"/>
                </a:lnTo>
                <a:lnTo>
                  <a:pt x="7129549" y="6858000"/>
                </a:lnTo>
                <a:lnTo>
                  <a:pt x="0" y="6849687"/>
                </a:lnTo>
                <a:lnTo>
                  <a:pt x="2510444" y="0"/>
                </a:lnTo>
                <a:close/>
              </a:path>
            </a:pathLst>
          </a:custGeom>
          <a:solidFill>
            <a:srgbClr val="426D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23AD616E-BA81-A84F-B451-0D912D614C7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3" y="6405563"/>
            <a:ext cx="28749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3FEF0B9-121D-5947-8642-43DE0027B0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2633" y="2297150"/>
            <a:ext cx="4020890" cy="344263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5AFB01D-0298-4A41-B8CF-29EA4FAFA4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2633" y="648484"/>
            <a:ext cx="4504558" cy="108478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ts val="4200"/>
              </a:lnSpc>
              <a:spcBef>
                <a:spcPts val="1000"/>
              </a:spcBef>
              <a:buFontTx/>
              <a:buNone/>
              <a:defRPr sz="4200" b="1" i="0" cap="all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the slide header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620B9D85-A14D-E642-BF49-7D45D645A8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18885" y="3044953"/>
            <a:ext cx="3580482" cy="1025922"/>
          </a:xfrm>
          <a:prstGeom prst="rect">
            <a:avLst/>
          </a:prstGeom>
        </p:spPr>
        <p:txBody>
          <a:bodyPr lIns="0" tIns="0" rIns="0" bIns="0" anchor="ctr" anchorCtr="1">
            <a:spAutoFit/>
          </a:bodyPr>
          <a:lstStyle>
            <a:lvl1pPr marL="0" indent="0" algn="ctr">
              <a:lnSpc>
                <a:spcPts val="4000"/>
              </a:lnSpc>
              <a:spcBef>
                <a:spcPts val="1000"/>
              </a:spcBef>
              <a:buFontTx/>
              <a:buNone/>
              <a:defRPr sz="3600" b="1" i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impact quote</a:t>
            </a:r>
          </a:p>
        </p:txBody>
      </p:sp>
    </p:spTree>
    <p:extLst>
      <p:ext uri="{BB962C8B-B14F-4D97-AF65-F5344CB8AC3E}">
        <p14:creationId xmlns:p14="http://schemas.microsoft.com/office/powerpoint/2010/main" val="59218731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0692F76F-A3E2-2142-89A0-ADAB232F495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99038" y="0"/>
            <a:ext cx="7192962" cy="6867525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>
                <a:solidFill>
                  <a:srgbClr val="00626F"/>
                </a:solidFill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4B00A00-0C60-CC46-874D-10118950EA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10160" y="0"/>
            <a:ext cx="7569200" cy="686816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9419"/>
              <a:gd name="connsiteY0" fmla="*/ 10000 h 10000"/>
              <a:gd name="connsiteX1" fmla="*/ 2000 w 9419"/>
              <a:gd name="connsiteY1" fmla="*/ 0 h 10000"/>
              <a:gd name="connsiteX2" fmla="*/ 9419 w 9419"/>
              <a:gd name="connsiteY2" fmla="*/ 0 h 10000"/>
              <a:gd name="connsiteX3" fmla="*/ 8000 w 9419"/>
              <a:gd name="connsiteY3" fmla="*/ 10000 h 10000"/>
              <a:gd name="connsiteX4" fmla="*/ 0 w 9419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8493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8278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8117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7943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15"/>
              <a:gd name="connsiteX1" fmla="*/ 27 w 10000"/>
              <a:gd name="connsiteY1" fmla="*/ 0 h 10015"/>
              <a:gd name="connsiteX2" fmla="*/ 10000 w 10000"/>
              <a:gd name="connsiteY2" fmla="*/ 0 h 10015"/>
              <a:gd name="connsiteX3" fmla="*/ 7527 w 10000"/>
              <a:gd name="connsiteY3" fmla="*/ 10015 h 10015"/>
              <a:gd name="connsiteX4" fmla="*/ 0 w 10000"/>
              <a:gd name="connsiteY4" fmla="*/ 10000 h 10015"/>
              <a:gd name="connsiteX0" fmla="*/ 0 w 10000"/>
              <a:gd name="connsiteY0" fmla="*/ 10000 h 10015"/>
              <a:gd name="connsiteX1" fmla="*/ 27 w 10000"/>
              <a:gd name="connsiteY1" fmla="*/ 0 h 10015"/>
              <a:gd name="connsiteX2" fmla="*/ 10000 w 10000"/>
              <a:gd name="connsiteY2" fmla="*/ 0 h 10015"/>
              <a:gd name="connsiteX3" fmla="*/ 7057 w 10000"/>
              <a:gd name="connsiteY3" fmla="*/ 10015 h 10015"/>
              <a:gd name="connsiteX4" fmla="*/ 0 w 10000"/>
              <a:gd name="connsiteY4" fmla="*/ 10000 h 10015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5285 w 10000"/>
              <a:gd name="connsiteY3" fmla="*/ 9837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6654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cubicBezTo>
                  <a:pt x="9" y="6667"/>
                  <a:pt x="18" y="3333"/>
                  <a:pt x="27" y="0"/>
                </a:cubicBezTo>
                <a:lnTo>
                  <a:pt x="10000" y="0"/>
                </a:lnTo>
                <a:lnTo>
                  <a:pt x="6654" y="10000"/>
                </a:lnTo>
                <a:lnTo>
                  <a:pt x="0" y="10000"/>
                </a:lnTo>
                <a:close/>
              </a:path>
            </a:pathLst>
          </a:custGeom>
          <a:solidFill>
            <a:schemeClr val="bg1"/>
          </a:solidFill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aseline="0">
                <a:solidFill>
                  <a:schemeClr val="bg1">
                    <a:alpha val="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220DB3E-87FF-6943-A39C-2B2CB696E6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" y="441796"/>
            <a:ext cx="6522721" cy="713494"/>
          </a:xfrm>
          <a:custGeom>
            <a:avLst/>
            <a:gdLst>
              <a:gd name="connsiteX0" fmla="*/ 0 w 4744720"/>
              <a:gd name="connsiteY0" fmla="*/ 0 h 671172"/>
              <a:gd name="connsiteX1" fmla="*/ 4744720 w 4744720"/>
              <a:gd name="connsiteY1" fmla="*/ 0 h 671172"/>
              <a:gd name="connsiteX2" fmla="*/ 4744720 w 4744720"/>
              <a:gd name="connsiteY2" fmla="*/ 671172 h 671172"/>
              <a:gd name="connsiteX3" fmla="*/ 0 w 4744720"/>
              <a:gd name="connsiteY3" fmla="*/ 671172 h 671172"/>
              <a:gd name="connsiteX4" fmla="*/ 0 w 4744720"/>
              <a:gd name="connsiteY4" fmla="*/ 0 h 671172"/>
              <a:gd name="connsiteX0" fmla="*/ 0 w 4978400"/>
              <a:gd name="connsiteY0" fmla="*/ 0 h 671172"/>
              <a:gd name="connsiteX1" fmla="*/ 4978400 w 4978400"/>
              <a:gd name="connsiteY1" fmla="*/ 10160 h 671172"/>
              <a:gd name="connsiteX2" fmla="*/ 4744720 w 4978400"/>
              <a:gd name="connsiteY2" fmla="*/ 671172 h 671172"/>
              <a:gd name="connsiteX3" fmla="*/ 0 w 4978400"/>
              <a:gd name="connsiteY3" fmla="*/ 671172 h 671172"/>
              <a:gd name="connsiteX4" fmla="*/ 0 w 4978400"/>
              <a:gd name="connsiteY4" fmla="*/ 0 h 671172"/>
              <a:gd name="connsiteX0" fmla="*/ 0 w 5008880"/>
              <a:gd name="connsiteY0" fmla="*/ 20320 h 691492"/>
              <a:gd name="connsiteX1" fmla="*/ 5008880 w 5008880"/>
              <a:gd name="connsiteY1" fmla="*/ 0 h 691492"/>
              <a:gd name="connsiteX2" fmla="*/ 4744720 w 5008880"/>
              <a:gd name="connsiteY2" fmla="*/ 691492 h 691492"/>
              <a:gd name="connsiteX3" fmla="*/ 0 w 5008880"/>
              <a:gd name="connsiteY3" fmla="*/ 691492 h 691492"/>
              <a:gd name="connsiteX4" fmla="*/ 0 w 5008880"/>
              <a:gd name="connsiteY4" fmla="*/ 20320 h 691492"/>
              <a:gd name="connsiteX0" fmla="*/ 0 w 5008880"/>
              <a:gd name="connsiteY0" fmla="*/ 0 h 671172"/>
              <a:gd name="connsiteX1" fmla="*/ 5008880 w 5008880"/>
              <a:gd name="connsiteY1" fmla="*/ 10160 h 671172"/>
              <a:gd name="connsiteX2" fmla="*/ 4744720 w 5008880"/>
              <a:gd name="connsiteY2" fmla="*/ 671172 h 671172"/>
              <a:gd name="connsiteX3" fmla="*/ 0 w 5008880"/>
              <a:gd name="connsiteY3" fmla="*/ 671172 h 671172"/>
              <a:gd name="connsiteX4" fmla="*/ 0 w 5008880"/>
              <a:gd name="connsiteY4" fmla="*/ 0 h 671172"/>
              <a:gd name="connsiteX0" fmla="*/ 0 w 5029200"/>
              <a:gd name="connsiteY0" fmla="*/ 10160 h 681332"/>
              <a:gd name="connsiteX1" fmla="*/ 5029200 w 5029200"/>
              <a:gd name="connsiteY1" fmla="*/ 0 h 681332"/>
              <a:gd name="connsiteX2" fmla="*/ 4744720 w 5029200"/>
              <a:gd name="connsiteY2" fmla="*/ 681332 h 681332"/>
              <a:gd name="connsiteX3" fmla="*/ 0 w 5029200"/>
              <a:gd name="connsiteY3" fmla="*/ 681332 h 681332"/>
              <a:gd name="connsiteX4" fmla="*/ 0 w 5029200"/>
              <a:gd name="connsiteY4" fmla="*/ 10160 h 681332"/>
              <a:gd name="connsiteX0" fmla="*/ 0 w 4989871"/>
              <a:gd name="connsiteY0" fmla="*/ 5244 h 676416"/>
              <a:gd name="connsiteX1" fmla="*/ 4989871 w 4989871"/>
              <a:gd name="connsiteY1" fmla="*/ 0 h 676416"/>
              <a:gd name="connsiteX2" fmla="*/ 4744720 w 4989871"/>
              <a:gd name="connsiteY2" fmla="*/ 676416 h 676416"/>
              <a:gd name="connsiteX3" fmla="*/ 0 w 4989871"/>
              <a:gd name="connsiteY3" fmla="*/ 676416 h 676416"/>
              <a:gd name="connsiteX4" fmla="*/ 0 w 4989871"/>
              <a:gd name="connsiteY4" fmla="*/ 5244 h 676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89871" h="676416">
                <a:moveTo>
                  <a:pt x="0" y="5244"/>
                </a:moveTo>
                <a:lnTo>
                  <a:pt x="4989871" y="0"/>
                </a:lnTo>
                <a:lnTo>
                  <a:pt x="4744720" y="676416"/>
                </a:lnTo>
                <a:lnTo>
                  <a:pt x="0" y="676416"/>
                </a:lnTo>
                <a:lnTo>
                  <a:pt x="0" y="5244"/>
                </a:lnTo>
                <a:close/>
              </a:path>
            </a:pathLst>
          </a:custGeom>
          <a:solidFill>
            <a:srgbClr val="B2EA63"/>
          </a:solidFill>
        </p:spPr>
        <p:txBody>
          <a:bodyPr lIns="900000" tIns="216000" rIns="216000" bIns="216000" anchor="t" anchorCtr="0"/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="1" i="0" cap="all" baseline="0">
                <a:solidFill>
                  <a:srgbClr val="004957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slide header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67EA7D-CB2A-E840-BFCA-9771A5E111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2633" y="2090184"/>
            <a:ext cx="4020890" cy="36496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39C1F22E-3982-D94B-8BE7-E19712B160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3" y="6405563"/>
            <a:ext cx="28749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956837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0692F76F-A3E2-2142-89A0-ADAB232F495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99038" y="0"/>
            <a:ext cx="7192962" cy="6867525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>
                <a:solidFill>
                  <a:srgbClr val="00626F"/>
                </a:solidFill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4B00A00-0C60-CC46-874D-10118950EA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10160" y="0"/>
            <a:ext cx="7569200" cy="686816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9419"/>
              <a:gd name="connsiteY0" fmla="*/ 10000 h 10000"/>
              <a:gd name="connsiteX1" fmla="*/ 2000 w 9419"/>
              <a:gd name="connsiteY1" fmla="*/ 0 h 10000"/>
              <a:gd name="connsiteX2" fmla="*/ 9419 w 9419"/>
              <a:gd name="connsiteY2" fmla="*/ 0 h 10000"/>
              <a:gd name="connsiteX3" fmla="*/ 8000 w 9419"/>
              <a:gd name="connsiteY3" fmla="*/ 10000 h 10000"/>
              <a:gd name="connsiteX4" fmla="*/ 0 w 9419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8493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8278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8117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7943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15"/>
              <a:gd name="connsiteX1" fmla="*/ 27 w 10000"/>
              <a:gd name="connsiteY1" fmla="*/ 0 h 10015"/>
              <a:gd name="connsiteX2" fmla="*/ 10000 w 10000"/>
              <a:gd name="connsiteY2" fmla="*/ 0 h 10015"/>
              <a:gd name="connsiteX3" fmla="*/ 7527 w 10000"/>
              <a:gd name="connsiteY3" fmla="*/ 10015 h 10015"/>
              <a:gd name="connsiteX4" fmla="*/ 0 w 10000"/>
              <a:gd name="connsiteY4" fmla="*/ 10000 h 10015"/>
              <a:gd name="connsiteX0" fmla="*/ 0 w 10000"/>
              <a:gd name="connsiteY0" fmla="*/ 10000 h 10015"/>
              <a:gd name="connsiteX1" fmla="*/ 27 w 10000"/>
              <a:gd name="connsiteY1" fmla="*/ 0 h 10015"/>
              <a:gd name="connsiteX2" fmla="*/ 10000 w 10000"/>
              <a:gd name="connsiteY2" fmla="*/ 0 h 10015"/>
              <a:gd name="connsiteX3" fmla="*/ 7057 w 10000"/>
              <a:gd name="connsiteY3" fmla="*/ 10015 h 10015"/>
              <a:gd name="connsiteX4" fmla="*/ 0 w 10000"/>
              <a:gd name="connsiteY4" fmla="*/ 10000 h 10015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5285 w 10000"/>
              <a:gd name="connsiteY3" fmla="*/ 9837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6654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cubicBezTo>
                  <a:pt x="9" y="6667"/>
                  <a:pt x="18" y="3333"/>
                  <a:pt x="27" y="0"/>
                </a:cubicBezTo>
                <a:lnTo>
                  <a:pt x="10000" y="0"/>
                </a:lnTo>
                <a:lnTo>
                  <a:pt x="6654" y="10000"/>
                </a:lnTo>
                <a:lnTo>
                  <a:pt x="0" y="10000"/>
                </a:lnTo>
                <a:close/>
              </a:path>
            </a:pathLst>
          </a:custGeom>
          <a:solidFill>
            <a:srgbClr val="B2EA63"/>
          </a:solidFill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aseline="0">
                <a:solidFill>
                  <a:schemeClr val="bg1">
                    <a:alpha val="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220DB3E-87FF-6943-A39C-2B2CB696E6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" y="441796"/>
            <a:ext cx="6522721" cy="713494"/>
          </a:xfrm>
          <a:custGeom>
            <a:avLst/>
            <a:gdLst>
              <a:gd name="connsiteX0" fmla="*/ 0 w 4744720"/>
              <a:gd name="connsiteY0" fmla="*/ 0 h 671172"/>
              <a:gd name="connsiteX1" fmla="*/ 4744720 w 4744720"/>
              <a:gd name="connsiteY1" fmla="*/ 0 h 671172"/>
              <a:gd name="connsiteX2" fmla="*/ 4744720 w 4744720"/>
              <a:gd name="connsiteY2" fmla="*/ 671172 h 671172"/>
              <a:gd name="connsiteX3" fmla="*/ 0 w 4744720"/>
              <a:gd name="connsiteY3" fmla="*/ 671172 h 671172"/>
              <a:gd name="connsiteX4" fmla="*/ 0 w 4744720"/>
              <a:gd name="connsiteY4" fmla="*/ 0 h 671172"/>
              <a:gd name="connsiteX0" fmla="*/ 0 w 4978400"/>
              <a:gd name="connsiteY0" fmla="*/ 0 h 671172"/>
              <a:gd name="connsiteX1" fmla="*/ 4978400 w 4978400"/>
              <a:gd name="connsiteY1" fmla="*/ 10160 h 671172"/>
              <a:gd name="connsiteX2" fmla="*/ 4744720 w 4978400"/>
              <a:gd name="connsiteY2" fmla="*/ 671172 h 671172"/>
              <a:gd name="connsiteX3" fmla="*/ 0 w 4978400"/>
              <a:gd name="connsiteY3" fmla="*/ 671172 h 671172"/>
              <a:gd name="connsiteX4" fmla="*/ 0 w 4978400"/>
              <a:gd name="connsiteY4" fmla="*/ 0 h 671172"/>
              <a:gd name="connsiteX0" fmla="*/ 0 w 5008880"/>
              <a:gd name="connsiteY0" fmla="*/ 20320 h 691492"/>
              <a:gd name="connsiteX1" fmla="*/ 5008880 w 5008880"/>
              <a:gd name="connsiteY1" fmla="*/ 0 h 691492"/>
              <a:gd name="connsiteX2" fmla="*/ 4744720 w 5008880"/>
              <a:gd name="connsiteY2" fmla="*/ 691492 h 691492"/>
              <a:gd name="connsiteX3" fmla="*/ 0 w 5008880"/>
              <a:gd name="connsiteY3" fmla="*/ 691492 h 691492"/>
              <a:gd name="connsiteX4" fmla="*/ 0 w 5008880"/>
              <a:gd name="connsiteY4" fmla="*/ 20320 h 691492"/>
              <a:gd name="connsiteX0" fmla="*/ 0 w 5008880"/>
              <a:gd name="connsiteY0" fmla="*/ 0 h 671172"/>
              <a:gd name="connsiteX1" fmla="*/ 5008880 w 5008880"/>
              <a:gd name="connsiteY1" fmla="*/ 10160 h 671172"/>
              <a:gd name="connsiteX2" fmla="*/ 4744720 w 5008880"/>
              <a:gd name="connsiteY2" fmla="*/ 671172 h 671172"/>
              <a:gd name="connsiteX3" fmla="*/ 0 w 5008880"/>
              <a:gd name="connsiteY3" fmla="*/ 671172 h 671172"/>
              <a:gd name="connsiteX4" fmla="*/ 0 w 5008880"/>
              <a:gd name="connsiteY4" fmla="*/ 0 h 671172"/>
              <a:gd name="connsiteX0" fmla="*/ 0 w 5029200"/>
              <a:gd name="connsiteY0" fmla="*/ 10160 h 681332"/>
              <a:gd name="connsiteX1" fmla="*/ 5029200 w 5029200"/>
              <a:gd name="connsiteY1" fmla="*/ 0 h 681332"/>
              <a:gd name="connsiteX2" fmla="*/ 4744720 w 5029200"/>
              <a:gd name="connsiteY2" fmla="*/ 681332 h 681332"/>
              <a:gd name="connsiteX3" fmla="*/ 0 w 5029200"/>
              <a:gd name="connsiteY3" fmla="*/ 681332 h 681332"/>
              <a:gd name="connsiteX4" fmla="*/ 0 w 5029200"/>
              <a:gd name="connsiteY4" fmla="*/ 10160 h 681332"/>
              <a:gd name="connsiteX0" fmla="*/ 0 w 4989871"/>
              <a:gd name="connsiteY0" fmla="*/ 5244 h 676416"/>
              <a:gd name="connsiteX1" fmla="*/ 4989871 w 4989871"/>
              <a:gd name="connsiteY1" fmla="*/ 0 h 676416"/>
              <a:gd name="connsiteX2" fmla="*/ 4744720 w 4989871"/>
              <a:gd name="connsiteY2" fmla="*/ 676416 h 676416"/>
              <a:gd name="connsiteX3" fmla="*/ 0 w 4989871"/>
              <a:gd name="connsiteY3" fmla="*/ 676416 h 676416"/>
              <a:gd name="connsiteX4" fmla="*/ 0 w 4989871"/>
              <a:gd name="connsiteY4" fmla="*/ 5244 h 676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89871" h="676416">
                <a:moveTo>
                  <a:pt x="0" y="5244"/>
                </a:moveTo>
                <a:lnTo>
                  <a:pt x="4989871" y="0"/>
                </a:lnTo>
                <a:lnTo>
                  <a:pt x="4744720" y="676416"/>
                </a:lnTo>
                <a:lnTo>
                  <a:pt x="0" y="676416"/>
                </a:lnTo>
                <a:lnTo>
                  <a:pt x="0" y="5244"/>
                </a:lnTo>
                <a:close/>
              </a:path>
            </a:pathLst>
          </a:custGeom>
          <a:solidFill>
            <a:schemeClr val="bg1"/>
          </a:solidFill>
        </p:spPr>
        <p:txBody>
          <a:bodyPr lIns="900000" tIns="216000" rIns="216000" bIns="216000" anchor="t" anchorCtr="0"/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="1" i="0" cap="all" baseline="0">
                <a:solidFill>
                  <a:srgbClr val="004957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slide header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67EA7D-CB2A-E840-BFCA-9771A5E111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2633" y="2090184"/>
            <a:ext cx="4020890" cy="36496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39C1F22E-3982-D94B-8BE7-E19712B160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3" y="6405563"/>
            <a:ext cx="28749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675166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0692F76F-A3E2-2142-89A0-ADAB232F495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99038" y="0"/>
            <a:ext cx="7192962" cy="6867525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>
                <a:solidFill>
                  <a:srgbClr val="00626F"/>
                </a:solidFill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4B00A00-0C60-CC46-874D-10118950EA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10160" y="0"/>
            <a:ext cx="7569200" cy="686816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9419"/>
              <a:gd name="connsiteY0" fmla="*/ 10000 h 10000"/>
              <a:gd name="connsiteX1" fmla="*/ 2000 w 9419"/>
              <a:gd name="connsiteY1" fmla="*/ 0 h 10000"/>
              <a:gd name="connsiteX2" fmla="*/ 9419 w 9419"/>
              <a:gd name="connsiteY2" fmla="*/ 0 h 10000"/>
              <a:gd name="connsiteX3" fmla="*/ 8000 w 9419"/>
              <a:gd name="connsiteY3" fmla="*/ 10000 h 10000"/>
              <a:gd name="connsiteX4" fmla="*/ 0 w 9419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8493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8278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8117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7943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15"/>
              <a:gd name="connsiteX1" fmla="*/ 27 w 10000"/>
              <a:gd name="connsiteY1" fmla="*/ 0 h 10015"/>
              <a:gd name="connsiteX2" fmla="*/ 10000 w 10000"/>
              <a:gd name="connsiteY2" fmla="*/ 0 h 10015"/>
              <a:gd name="connsiteX3" fmla="*/ 7527 w 10000"/>
              <a:gd name="connsiteY3" fmla="*/ 10015 h 10015"/>
              <a:gd name="connsiteX4" fmla="*/ 0 w 10000"/>
              <a:gd name="connsiteY4" fmla="*/ 10000 h 10015"/>
              <a:gd name="connsiteX0" fmla="*/ 0 w 10000"/>
              <a:gd name="connsiteY0" fmla="*/ 10000 h 10015"/>
              <a:gd name="connsiteX1" fmla="*/ 27 w 10000"/>
              <a:gd name="connsiteY1" fmla="*/ 0 h 10015"/>
              <a:gd name="connsiteX2" fmla="*/ 10000 w 10000"/>
              <a:gd name="connsiteY2" fmla="*/ 0 h 10015"/>
              <a:gd name="connsiteX3" fmla="*/ 7057 w 10000"/>
              <a:gd name="connsiteY3" fmla="*/ 10015 h 10015"/>
              <a:gd name="connsiteX4" fmla="*/ 0 w 10000"/>
              <a:gd name="connsiteY4" fmla="*/ 10000 h 10015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5285 w 10000"/>
              <a:gd name="connsiteY3" fmla="*/ 9837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7 w 10000"/>
              <a:gd name="connsiteY1" fmla="*/ 0 h 10000"/>
              <a:gd name="connsiteX2" fmla="*/ 10000 w 10000"/>
              <a:gd name="connsiteY2" fmla="*/ 0 h 10000"/>
              <a:gd name="connsiteX3" fmla="*/ 6654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cubicBezTo>
                  <a:pt x="9" y="6667"/>
                  <a:pt x="18" y="3333"/>
                  <a:pt x="27" y="0"/>
                </a:cubicBezTo>
                <a:lnTo>
                  <a:pt x="10000" y="0"/>
                </a:lnTo>
                <a:lnTo>
                  <a:pt x="6654" y="10000"/>
                </a:lnTo>
                <a:lnTo>
                  <a:pt x="0" y="10000"/>
                </a:lnTo>
                <a:close/>
              </a:path>
            </a:pathLst>
          </a:custGeom>
          <a:solidFill>
            <a:srgbClr val="B5E3DF"/>
          </a:solidFill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aseline="0">
                <a:solidFill>
                  <a:schemeClr val="bg1">
                    <a:alpha val="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67EA7D-CB2A-E840-BFCA-9771A5E111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2633" y="2090184"/>
            <a:ext cx="4020890" cy="36496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39C1F22E-3982-D94B-8BE7-E19712B160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3" y="6405563"/>
            <a:ext cx="28749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D84705-B91B-774B-8CE7-82771EA6B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" y="441796"/>
            <a:ext cx="6522721" cy="713494"/>
          </a:xfrm>
          <a:custGeom>
            <a:avLst/>
            <a:gdLst>
              <a:gd name="connsiteX0" fmla="*/ 0 w 4744720"/>
              <a:gd name="connsiteY0" fmla="*/ 0 h 671172"/>
              <a:gd name="connsiteX1" fmla="*/ 4744720 w 4744720"/>
              <a:gd name="connsiteY1" fmla="*/ 0 h 671172"/>
              <a:gd name="connsiteX2" fmla="*/ 4744720 w 4744720"/>
              <a:gd name="connsiteY2" fmla="*/ 671172 h 671172"/>
              <a:gd name="connsiteX3" fmla="*/ 0 w 4744720"/>
              <a:gd name="connsiteY3" fmla="*/ 671172 h 671172"/>
              <a:gd name="connsiteX4" fmla="*/ 0 w 4744720"/>
              <a:gd name="connsiteY4" fmla="*/ 0 h 671172"/>
              <a:gd name="connsiteX0" fmla="*/ 0 w 4978400"/>
              <a:gd name="connsiteY0" fmla="*/ 0 h 671172"/>
              <a:gd name="connsiteX1" fmla="*/ 4978400 w 4978400"/>
              <a:gd name="connsiteY1" fmla="*/ 10160 h 671172"/>
              <a:gd name="connsiteX2" fmla="*/ 4744720 w 4978400"/>
              <a:gd name="connsiteY2" fmla="*/ 671172 h 671172"/>
              <a:gd name="connsiteX3" fmla="*/ 0 w 4978400"/>
              <a:gd name="connsiteY3" fmla="*/ 671172 h 671172"/>
              <a:gd name="connsiteX4" fmla="*/ 0 w 4978400"/>
              <a:gd name="connsiteY4" fmla="*/ 0 h 671172"/>
              <a:gd name="connsiteX0" fmla="*/ 0 w 5008880"/>
              <a:gd name="connsiteY0" fmla="*/ 20320 h 691492"/>
              <a:gd name="connsiteX1" fmla="*/ 5008880 w 5008880"/>
              <a:gd name="connsiteY1" fmla="*/ 0 h 691492"/>
              <a:gd name="connsiteX2" fmla="*/ 4744720 w 5008880"/>
              <a:gd name="connsiteY2" fmla="*/ 691492 h 691492"/>
              <a:gd name="connsiteX3" fmla="*/ 0 w 5008880"/>
              <a:gd name="connsiteY3" fmla="*/ 691492 h 691492"/>
              <a:gd name="connsiteX4" fmla="*/ 0 w 5008880"/>
              <a:gd name="connsiteY4" fmla="*/ 20320 h 691492"/>
              <a:gd name="connsiteX0" fmla="*/ 0 w 5008880"/>
              <a:gd name="connsiteY0" fmla="*/ 0 h 671172"/>
              <a:gd name="connsiteX1" fmla="*/ 5008880 w 5008880"/>
              <a:gd name="connsiteY1" fmla="*/ 10160 h 671172"/>
              <a:gd name="connsiteX2" fmla="*/ 4744720 w 5008880"/>
              <a:gd name="connsiteY2" fmla="*/ 671172 h 671172"/>
              <a:gd name="connsiteX3" fmla="*/ 0 w 5008880"/>
              <a:gd name="connsiteY3" fmla="*/ 671172 h 671172"/>
              <a:gd name="connsiteX4" fmla="*/ 0 w 5008880"/>
              <a:gd name="connsiteY4" fmla="*/ 0 h 671172"/>
              <a:gd name="connsiteX0" fmla="*/ 0 w 5029200"/>
              <a:gd name="connsiteY0" fmla="*/ 10160 h 681332"/>
              <a:gd name="connsiteX1" fmla="*/ 5029200 w 5029200"/>
              <a:gd name="connsiteY1" fmla="*/ 0 h 681332"/>
              <a:gd name="connsiteX2" fmla="*/ 4744720 w 5029200"/>
              <a:gd name="connsiteY2" fmla="*/ 681332 h 681332"/>
              <a:gd name="connsiteX3" fmla="*/ 0 w 5029200"/>
              <a:gd name="connsiteY3" fmla="*/ 681332 h 681332"/>
              <a:gd name="connsiteX4" fmla="*/ 0 w 5029200"/>
              <a:gd name="connsiteY4" fmla="*/ 10160 h 681332"/>
              <a:gd name="connsiteX0" fmla="*/ 0 w 4989871"/>
              <a:gd name="connsiteY0" fmla="*/ 5244 h 676416"/>
              <a:gd name="connsiteX1" fmla="*/ 4989871 w 4989871"/>
              <a:gd name="connsiteY1" fmla="*/ 0 h 676416"/>
              <a:gd name="connsiteX2" fmla="*/ 4744720 w 4989871"/>
              <a:gd name="connsiteY2" fmla="*/ 676416 h 676416"/>
              <a:gd name="connsiteX3" fmla="*/ 0 w 4989871"/>
              <a:gd name="connsiteY3" fmla="*/ 676416 h 676416"/>
              <a:gd name="connsiteX4" fmla="*/ 0 w 4989871"/>
              <a:gd name="connsiteY4" fmla="*/ 5244 h 676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89871" h="676416">
                <a:moveTo>
                  <a:pt x="0" y="5244"/>
                </a:moveTo>
                <a:lnTo>
                  <a:pt x="4989871" y="0"/>
                </a:lnTo>
                <a:lnTo>
                  <a:pt x="4744720" y="676416"/>
                </a:lnTo>
                <a:lnTo>
                  <a:pt x="0" y="676416"/>
                </a:lnTo>
                <a:lnTo>
                  <a:pt x="0" y="5244"/>
                </a:lnTo>
                <a:close/>
              </a:path>
            </a:pathLst>
          </a:custGeom>
          <a:solidFill>
            <a:srgbClr val="00626F"/>
          </a:solidFill>
        </p:spPr>
        <p:txBody>
          <a:bodyPr lIns="900000" tIns="216000" rIns="216000" bIns="216000" anchor="t" anchorCtr="0"/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="1" i="0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slide header</a:t>
            </a:r>
          </a:p>
        </p:txBody>
      </p:sp>
    </p:spTree>
    <p:extLst>
      <p:ext uri="{BB962C8B-B14F-4D97-AF65-F5344CB8AC3E}">
        <p14:creationId xmlns:p14="http://schemas.microsoft.com/office/powerpoint/2010/main" val="269979666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Edita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BC9B9407-A656-6D47-B3D0-6FB6A19A88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2" cy="686752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00626F"/>
                </a:solidFill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C340000-D5A3-ED47-8762-B99859DF97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8248" y="2550696"/>
            <a:ext cx="5843752" cy="3469104"/>
          </a:xfrm>
          <a:prstGeom prst="rect">
            <a:avLst/>
          </a:prstGeom>
          <a:solidFill>
            <a:schemeClr val="bg1"/>
          </a:solidFill>
        </p:spPr>
        <p:txBody>
          <a:bodyPr lIns="360000" tIns="792000" rIns="720000" bIns="540000">
            <a:normAutofit/>
          </a:bodyPr>
          <a:lstStyle>
            <a:lvl1pPr marL="0" indent="0">
              <a:lnSpc>
                <a:spcPts val="2400"/>
              </a:lnSpc>
              <a:spcBef>
                <a:spcPts val="500"/>
              </a:spcBef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3AC7253-305D-354A-BC37-329EB2D081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9928" y="2293864"/>
            <a:ext cx="5843752" cy="718473"/>
          </a:xfrm>
          <a:custGeom>
            <a:avLst/>
            <a:gdLst>
              <a:gd name="connsiteX0" fmla="*/ 0 w 4744720"/>
              <a:gd name="connsiteY0" fmla="*/ 0 h 671172"/>
              <a:gd name="connsiteX1" fmla="*/ 4744720 w 4744720"/>
              <a:gd name="connsiteY1" fmla="*/ 0 h 671172"/>
              <a:gd name="connsiteX2" fmla="*/ 4744720 w 4744720"/>
              <a:gd name="connsiteY2" fmla="*/ 671172 h 671172"/>
              <a:gd name="connsiteX3" fmla="*/ 0 w 4744720"/>
              <a:gd name="connsiteY3" fmla="*/ 671172 h 671172"/>
              <a:gd name="connsiteX4" fmla="*/ 0 w 4744720"/>
              <a:gd name="connsiteY4" fmla="*/ 0 h 671172"/>
              <a:gd name="connsiteX0" fmla="*/ 0 w 4978400"/>
              <a:gd name="connsiteY0" fmla="*/ 0 h 671172"/>
              <a:gd name="connsiteX1" fmla="*/ 4978400 w 4978400"/>
              <a:gd name="connsiteY1" fmla="*/ 10160 h 671172"/>
              <a:gd name="connsiteX2" fmla="*/ 4744720 w 4978400"/>
              <a:gd name="connsiteY2" fmla="*/ 671172 h 671172"/>
              <a:gd name="connsiteX3" fmla="*/ 0 w 4978400"/>
              <a:gd name="connsiteY3" fmla="*/ 671172 h 671172"/>
              <a:gd name="connsiteX4" fmla="*/ 0 w 4978400"/>
              <a:gd name="connsiteY4" fmla="*/ 0 h 671172"/>
              <a:gd name="connsiteX0" fmla="*/ 0 w 5008880"/>
              <a:gd name="connsiteY0" fmla="*/ 20320 h 691492"/>
              <a:gd name="connsiteX1" fmla="*/ 5008880 w 5008880"/>
              <a:gd name="connsiteY1" fmla="*/ 0 h 691492"/>
              <a:gd name="connsiteX2" fmla="*/ 4744720 w 5008880"/>
              <a:gd name="connsiteY2" fmla="*/ 691492 h 691492"/>
              <a:gd name="connsiteX3" fmla="*/ 0 w 5008880"/>
              <a:gd name="connsiteY3" fmla="*/ 691492 h 691492"/>
              <a:gd name="connsiteX4" fmla="*/ 0 w 5008880"/>
              <a:gd name="connsiteY4" fmla="*/ 20320 h 691492"/>
              <a:gd name="connsiteX0" fmla="*/ 0 w 5008880"/>
              <a:gd name="connsiteY0" fmla="*/ 0 h 671172"/>
              <a:gd name="connsiteX1" fmla="*/ 5008880 w 5008880"/>
              <a:gd name="connsiteY1" fmla="*/ 10160 h 671172"/>
              <a:gd name="connsiteX2" fmla="*/ 4744720 w 5008880"/>
              <a:gd name="connsiteY2" fmla="*/ 671172 h 671172"/>
              <a:gd name="connsiteX3" fmla="*/ 0 w 5008880"/>
              <a:gd name="connsiteY3" fmla="*/ 671172 h 671172"/>
              <a:gd name="connsiteX4" fmla="*/ 0 w 5008880"/>
              <a:gd name="connsiteY4" fmla="*/ 0 h 671172"/>
              <a:gd name="connsiteX0" fmla="*/ 0 w 5029200"/>
              <a:gd name="connsiteY0" fmla="*/ 10160 h 681332"/>
              <a:gd name="connsiteX1" fmla="*/ 5029200 w 5029200"/>
              <a:gd name="connsiteY1" fmla="*/ 0 h 681332"/>
              <a:gd name="connsiteX2" fmla="*/ 4744720 w 5029200"/>
              <a:gd name="connsiteY2" fmla="*/ 681332 h 681332"/>
              <a:gd name="connsiteX3" fmla="*/ 0 w 5029200"/>
              <a:gd name="connsiteY3" fmla="*/ 681332 h 681332"/>
              <a:gd name="connsiteX4" fmla="*/ 0 w 5029200"/>
              <a:gd name="connsiteY4" fmla="*/ 10160 h 681332"/>
              <a:gd name="connsiteX0" fmla="*/ 0 w 4989871"/>
              <a:gd name="connsiteY0" fmla="*/ 5244 h 676416"/>
              <a:gd name="connsiteX1" fmla="*/ 4989871 w 4989871"/>
              <a:gd name="connsiteY1" fmla="*/ 0 h 676416"/>
              <a:gd name="connsiteX2" fmla="*/ 4744720 w 4989871"/>
              <a:gd name="connsiteY2" fmla="*/ 676416 h 676416"/>
              <a:gd name="connsiteX3" fmla="*/ 0 w 4989871"/>
              <a:gd name="connsiteY3" fmla="*/ 676416 h 676416"/>
              <a:gd name="connsiteX4" fmla="*/ 0 w 4989871"/>
              <a:gd name="connsiteY4" fmla="*/ 5244 h 676416"/>
              <a:gd name="connsiteX0" fmla="*/ 210206 w 4989871"/>
              <a:gd name="connsiteY0" fmla="*/ 0 h 681136"/>
              <a:gd name="connsiteX1" fmla="*/ 4989871 w 4989871"/>
              <a:gd name="connsiteY1" fmla="*/ 4720 h 681136"/>
              <a:gd name="connsiteX2" fmla="*/ 4744720 w 4989871"/>
              <a:gd name="connsiteY2" fmla="*/ 681136 h 681136"/>
              <a:gd name="connsiteX3" fmla="*/ 0 w 4989871"/>
              <a:gd name="connsiteY3" fmla="*/ 681136 h 681136"/>
              <a:gd name="connsiteX4" fmla="*/ 210206 w 4989871"/>
              <a:gd name="connsiteY4" fmla="*/ 0 h 681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89871" h="681136">
                <a:moveTo>
                  <a:pt x="210206" y="0"/>
                </a:moveTo>
                <a:lnTo>
                  <a:pt x="4989871" y="4720"/>
                </a:lnTo>
                <a:lnTo>
                  <a:pt x="4744720" y="681136"/>
                </a:lnTo>
                <a:lnTo>
                  <a:pt x="0" y="681136"/>
                </a:lnTo>
                <a:lnTo>
                  <a:pt x="210206" y="0"/>
                </a:lnTo>
                <a:close/>
              </a:path>
            </a:pathLst>
          </a:custGeom>
          <a:solidFill>
            <a:srgbClr val="B2EA63"/>
          </a:solidFill>
        </p:spPr>
        <p:txBody>
          <a:bodyPr lIns="900000" tIns="216000" rIns="216000" bIns="216000" anchor="t" anchorCtr="0"/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="1" i="0" cap="all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1827B8B-8EFA-AE4A-BAE9-F915223A86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7400000" flipV="1">
            <a:off x="-2506633" y="2737316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477D299-5829-4A46-9D3E-B72279E61C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7400000" flipV="1">
            <a:off x="-2687261" y="2737315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6863DE2-557F-554C-A712-01E392D792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7400000" flipV="1">
            <a:off x="-2860675" y="2737313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AE0E4B-EE89-514A-AAEC-B4A13250FA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7400000" flipV="1">
            <a:off x="-3023056" y="2737310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9E96452-8775-E540-AE09-503726FA4B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7400000" flipV="1">
            <a:off x="-3174150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0C3273C-FFFA-A841-98A1-2F77812DDC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7400000" flipV="1">
            <a:off x="-3336531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608B014-3A79-8E4B-A6AB-2103509F3F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7400000" flipV="1">
            <a:off x="-3507179" y="2749340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8A1C427-B54E-AC4A-9E9A-03C8FA60994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7400000" flipV="1">
            <a:off x="-3705390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519581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Edita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BC9B9407-A656-6D47-B3D0-6FB6A19A88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2" cy="686752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00626F"/>
                </a:solidFill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C340000-D5A3-ED47-8762-B99859DF97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8248" y="2550696"/>
            <a:ext cx="5843752" cy="3469104"/>
          </a:xfrm>
          <a:prstGeom prst="rect">
            <a:avLst/>
          </a:prstGeom>
          <a:solidFill>
            <a:srgbClr val="B2EA63"/>
          </a:solidFill>
        </p:spPr>
        <p:txBody>
          <a:bodyPr lIns="360000" tIns="792000" rIns="720000" bIns="540000">
            <a:normAutofit/>
          </a:bodyPr>
          <a:lstStyle>
            <a:lvl1pPr marL="0" indent="0">
              <a:lnSpc>
                <a:spcPts val="2400"/>
              </a:lnSpc>
              <a:spcBef>
                <a:spcPts val="500"/>
              </a:spcBef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3AC7253-305D-354A-BC37-329EB2D081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9928" y="2293864"/>
            <a:ext cx="5843752" cy="718473"/>
          </a:xfrm>
          <a:custGeom>
            <a:avLst/>
            <a:gdLst>
              <a:gd name="connsiteX0" fmla="*/ 0 w 4744720"/>
              <a:gd name="connsiteY0" fmla="*/ 0 h 671172"/>
              <a:gd name="connsiteX1" fmla="*/ 4744720 w 4744720"/>
              <a:gd name="connsiteY1" fmla="*/ 0 h 671172"/>
              <a:gd name="connsiteX2" fmla="*/ 4744720 w 4744720"/>
              <a:gd name="connsiteY2" fmla="*/ 671172 h 671172"/>
              <a:gd name="connsiteX3" fmla="*/ 0 w 4744720"/>
              <a:gd name="connsiteY3" fmla="*/ 671172 h 671172"/>
              <a:gd name="connsiteX4" fmla="*/ 0 w 4744720"/>
              <a:gd name="connsiteY4" fmla="*/ 0 h 671172"/>
              <a:gd name="connsiteX0" fmla="*/ 0 w 4978400"/>
              <a:gd name="connsiteY0" fmla="*/ 0 h 671172"/>
              <a:gd name="connsiteX1" fmla="*/ 4978400 w 4978400"/>
              <a:gd name="connsiteY1" fmla="*/ 10160 h 671172"/>
              <a:gd name="connsiteX2" fmla="*/ 4744720 w 4978400"/>
              <a:gd name="connsiteY2" fmla="*/ 671172 h 671172"/>
              <a:gd name="connsiteX3" fmla="*/ 0 w 4978400"/>
              <a:gd name="connsiteY3" fmla="*/ 671172 h 671172"/>
              <a:gd name="connsiteX4" fmla="*/ 0 w 4978400"/>
              <a:gd name="connsiteY4" fmla="*/ 0 h 671172"/>
              <a:gd name="connsiteX0" fmla="*/ 0 w 5008880"/>
              <a:gd name="connsiteY0" fmla="*/ 20320 h 691492"/>
              <a:gd name="connsiteX1" fmla="*/ 5008880 w 5008880"/>
              <a:gd name="connsiteY1" fmla="*/ 0 h 691492"/>
              <a:gd name="connsiteX2" fmla="*/ 4744720 w 5008880"/>
              <a:gd name="connsiteY2" fmla="*/ 691492 h 691492"/>
              <a:gd name="connsiteX3" fmla="*/ 0 w 5008880"/>
              <a:gd name="connsiteY3" fmla="*/ 691492 h 691492"/>
              <a:gd name="connsiteX4" fmla="*/ 0 w 5008880"/>
              <a:gd name="connsiteY4" fmla="*/ 20320 h 691492"/>
              <a:gd name="connsiteX0" fmla="*/ 0 w 5008880"/>
              <a:gd name="connsiteY0" fmla="*/ 0 h 671172"/>
              <a:gd name="connsiteX1" fmla="*/ 5008880 w 5008880"/>
              <a:gd name="connsiteY1" fmla="*/ 10160 h 671172"/>
              <a:gd name="connsiteX2" fmla="*/ 4744720 w 5008880"/>
              <a:gd name="connsiteY2" fmla="*/ 671172 h 671172"/>
              <a:gd name="connsiteX3" fmla="*/ 0 w 5008880"/>
              <a:gd name="connsiteY3" fmla="*/ 671172 h 671172"/>
              <a:gd name="connsiteX4" fmla="*/ 0 w 5008880"/>
              <a:gd name="connsiteY4" fmla="*/ 0 h 671172"/>
              <a:gd name="connsiteX0" fmla="*/ 0 w 5029200"/>
              <a:gd name="connsiteY0" fmla="*/ 10160 h 681332"/>
              <a:gd name="connsiteX1" fmla="*/ 5029200 w 5029200"/>
              <a:gd name="connsiteY1" fmla="*/ 0 h 681332"/>
              <a:gd name="connsiteX2" fmla="*/ 4744720 w 5029200"/>
              <a:gd name="connsiteY2" fmla="*/ 681332 h 681332"/>
              <a:gd name="connsiteX3" fmla="*/ 0 w 5029200"/>
              <a:gd name="connsiteY3" fmla="*/ 681332 h 681332"/>
              <a:gd name="connsiteX4" fmla="*/ 0 w 5029200"/>
              <a:gd name="connsiteY4" fmla="*/ 10160 h 681332"/>
              <a:gd name="connsiteX0" fmla="*/ 0 w 4989871"/>
              <a:gd name="connsiteY0" fmla="*/ 5244 h 676416"/>
              <a:gd name="connsiteX1" fmla="*/ 4989871 w 4989871"/>
              <a:gd name="connsiteY1" fmla="*/ 0 h 676416"/>
              <a:gd name="connsiteX2" fmla="*/ 4744720 w 4989871"/>
              <a:gd name="connsiteY2" fmla="*/ 676416 h 676416"/>
              <a:gd name="connsiteX3" fmla="*/ 0 w 4989871"/>
              <a:gd name="connsiteY3" fmla="*/ 676416 h 676416"/>
              <a:gd name="connsiteX4" fmla="*/ 0 w 4989871"/>
              <a:gd name="connsiteY4" fmla="*/ 5244 h 676416"/>
              <a:gd name="connsiteX0" fmla="*/ 210206 w 4989871"/>
              <a:gd name="connsiteY0" fmla="*/ 0 h 681136"/>
              <a:gd name="connsiteX1" fmla="*/ 4989871 w 4989871"/>
              <a:gd name="connsiteY1" fmla="*/ 4720 h 681136"/>
              <a:gd name="connsiteX2" fmla="*/ 4744720 w 4989871"/>
              <a:gd name="connsiteY2" fmla="*/ 681136 h 681136"/>
              <a:gd name="connsiteX3" fmla="*/ 0 w 4989871"/>
              <a:gd name="connsiteY3" fmla="*/ 681136 h 681136"/>
              <a:gd name="connsiteX4" fmla="*/ 210206 w 4989871"/>
              <a:gd name="connsiteY4" fmla="*/ 0 h 681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89871" h="681136">
                <a:moveTo>
                  <a:pt x="210206" y="0"/>
                </a:moveTo>
                <a:lnTo>
                  <a:pt x="4989871" y="4720"/>
                </a:lnTo>
                <a:lnTo>
                  <a:pt x="4744720" y="681136"/>
                </a:lnTo>
                <a:lnTo>
                  <a:pt x="0" y="681136"/>
                </a:lnTo>
                <a:lnTo>
                  <a:pt x="210206" y="0"/>
                </a:lnTo>
                <a:close/>
              </a:path>
            </a:pathLst>
          </a:custGeom>
          <a:solidFill>
            <a:schemeClr val="bg1"/>
          </a:solidFill>
        </p:spPr>
        <p:txBody>
          <a:bodyPr lIns="900000" tIns="216000" rIns="216000" bIns="216000" anchor="t" anchorCtr="0"/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="1" i="0" cap="all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1827B8B-8EFA-AE4A-BAE9-F915223A86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7400000" flipV="1">
            <a:off x="-2506633" y="2737316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477D299-5829-4A46-9D3E-B72279E61C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7400000" flipV="1">
            <a:off x="-2687261" y="2737315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6863DE2-557F-554C-A712-01E392D792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7400000" flipV="1">
            <a:off x="-2860675" y="2737313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AE0E4B-EE89-514A-AAEC-B4A13250FA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7400000" flipV="1">
            <a:off x="-3023056" y="2737310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9E96452-8775-E540-AE09-503726FA4B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7400000" flipV="1">
            <a:off x="-3174150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0C3273C-FFFA-A841-98A1-2F77812DDC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7400000" flipV="1">
            <a:off x="-3336531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608B014-3A79-8E4B-A6AB-2103509F3F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7400000" flipV="1">
            <a:off x="-3507179" y="2749340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8A1C427-B54E-AC4A-9E9A-03C8FA60994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7400000" flipV="1">
            <a:off x="-3705390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159349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Edita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BC9B9407-A656-6D47-B3D0-6FB6A19A88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2" cy="686752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00626F"/>
                </a:solidFill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C340000-D5A3-ED47-8762-B99859DF97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8248" y="2550696"/>
            <a:ext cx="5843752" cy="3469104"/>
          </a:xfrm>
          <a:prstGeom prst="rect">
            <a:avLst/>
          </a:prstGeom>
          <a:solidFill>
            <a:srgbClr val="2D7770"/>
          </a:solidFill>
        </p:spPr>
        <p:txBody>
          <a:bodyPr lIns="360000" tIns="792000" rIns="720000" bIns="540000">
            <a:normAutofit/>
          </a:bodyPr>
          <a:lstStyle>
            <a:lvl1pPr marL="0" indent="0">
              <a:lnSpc>
                <a:spcPts val="2400"/>
              </a:lnSpc>
              <a:spcBef>
                <a:spcPts val="500"/>
              </a:spcBef>
              <a:buFontTx/>
              <a:buNone/>
              <a:defRPr sz="20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3AC7253-305D-354A-BC37-329EB2D081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9928" y="2293864"/>
            <a:ext cx="5843752" cy="718473"/>
          </a:xfrm>
          <a:custGeom>
            <a:avLst/>
            <a:gdLst>
              <a:gd name="connsiteX0" fmla="*/ 0 w 4744720"/>
              <a:gd name="connsiteY0" fmla="*/ 0 h 671172"/>
              <a:gd name="connsiteX1" fmla="*/ 4744720 w 4744720"/>
              <a:gd name="connsiteY1" fmla="*/ 0 h 671172"/>
              <a:gd name="connsiteX2" fmla="*/ 4744720 w 4744720"/>
              <a:gd name="connsiteY2" fmla="*/ 671172 h 671172"/>
              <a:gd name="connsiteX3" fmla="*/ 0 w 4744720"/>
              <a:gd name="connsiteY3" fmla="*/ 671172 h 671172"/>
              <a:gd name="connsiteX4" fmla="*/ 0 w 4744720"/>
              <a:gd name="connsiteY4" fmla="*/ 0 h 671172"/>
              <a:gd name="connsiteX0" fmla="*/ 0 w 4978400"/>
              <a:gd name="connsiteY0" fmla="*/ 0 h 671172"/>
              <a:gd name="connsiteX1" fmla="*/ 4978400 w 4978400"/>
              <a:gd name="connsiteY1" fmla="*/ 10160 h 671172"/>
              <a:gd name="connsiteX2" fmla="*/ 4744720 w 4978400"/>
              <a:gd name="connsiteY2" fmla="*/ 671172 h 671172"/>
              <a:gd name="connsiteX3" fmla="*/ 0 w 4978400"/>
              <a:gd name="connsiteY3" fmla="*/ 671172 h 671172"/>
              <a:gd name="connsiteX4" fmla="*/ 0 w 4978400"/>
              <a:gd name="connsiteY4" fmla="*/ 0 h 671172"/>
              <a:gd name="connsiteX0" fmla="*/ 0 w 5008880"/>
              <a:gd name="connsiteY0" fmla="*/ 20320 h 691492"/>
              <a:gd name="connsiteX1" fmla="*/ 5008880 w 5008880"/>
              <a:gd name="connsiteY1" fmla="*/ 0 h 691492"/>
              <a:gd name="connsiteX2" fmla="*/ 4744720 w 5008880"/>
              <a:gd name="connsiteY2" fmla="*/ 691492 h 691492"/>
              <a:gd name="connsiteX3" fmla="*/ 0 w 5008880"/>
              <a:gd name="connsiteY3" fmla="*/ 691492 h 691492"/>
              <a:gd name="connsiteX4" fmla="*/ 0 w 5008880"/>
              <a:gd name="connsiteY4" fmla="*/ 20320 h 691492"/>
              <a:gd name="connsiteX0" fmla="*/ 0 w 5008880"/>
              <a:gd name="connsiteY0" fmla="*/ 0 h 671172"/>
              <a:gd name="connsiteX1" fmla="*/ 5008880 w 5008880"/>
              <a:gd name="connsiteY1" fmla="*/ 10160 h 671172"/>
              <a:gd name="connsiteX2" fmla="*/ 4744720 w 5008880"/>
              <a:gd name="connsiteY2" fmla="*/ 671172 h 671172"/>
              <a:gd name="connsiteX3" fmla="*/ 0 w 5008880"/>
              <a:gd name="connsiteY3" fmla="*/ 671172 h 671172"/>
              <a:gd name="connsiteX4" fmla="*/ 0 w 5008880"/>
              <a:gd name="connsiteY4" fmla="*/ 0 h 671172"/>
              <a:gd name="connsiteX0" fmla="*/ 0 w 5029200"/>
              <a:gd name="connsiteY0" fmla="*/ 10160 h 681332"/>
              <a:gd name="connsiteX1" fmla="*/ 5029200 w 5029200"/>
              <a:gd name="connsiteY1" fmla="*/ 0 h 681332"/>
              <a:gd name="connsiteX2" fmla="*/ 4744720 w 5029200"/>
              <a:gd name="connsiteY2" fmla="*/ 681332 h 681332"/>
              <a:gd name="connsiteX3" fmla="*/ 0 w 5029200"/>
              <a:gd name="connsiteY3" fmla="*/ 681332 h 681332"/>
              <a:gd name="connsiteX4" fmla="*/ 0 w 5029200"/>
              <a:gd name="connsiteY4" fmla="*/ 10160 h 681332"/>
              <a:gd name="connsiteX0" fmla="*/ 0 w 4989871"/>
              <a:gd name="connsiteY0" fmla="*/ 5244 h 676416"/>
              <a:gd name="connsiteX1" fmla="*/ 4989871 w 4989871"/>
              <a:gd name="connsiteY1" fmla="*/ 0 h 676416"/>
              <a:gd name="connsiteX2" fmla="*/ 4744720 w 4989871"/>
              <a:gd name="connsiteY2" fmla="*/ 676416 h 676416"/>
              <a:gd name="connsiteX3" fmla="*/ 0 w 4989871"/>
              <a:gd name="connsiteY3" fmla="*/ 676416 h 676416"/>
              <a:gd name="connsiteX4" fmla="*/ 0 w 4989871"/>
              <a:gd name="connsiteY4" fmla="*/ 5244 h 676416"/>
              <a:gd name="connsiteX0" fmla="*/ 210206 w 4989871"/>
              <a:gd name="connsiteY0" fmla="*/ 0 h 681136"/>
              <a:gd name="connsiteX1" fmla="*/ 4989871 w 4989871"/>
              <a:gd name="connsiteY1" fmla="*/ 4720 h 681136"/>
              <a:gd name="connsiteX2" fmla="*/ 4744720 w 4989871"/>
              <a:gd name="connsiteY2" fmla="*/ 681136 h 681136"/>
              <a:gd name="connsiteX3" fmla="*/ 0 w 4989871"/>
              <a:gd name="connsiteY3" fmla="*/ 681136 h 681136"/>
              <a:gd name="connsiteX4" fmla="*/ 210206 w 4989871"/>
              <a:gd name="connsiteY4" fmla="*/ 0 h 681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89871" h="681136">
                <a:moveTo>
                  <a:pt x="210206" y="0"/>
                </a:moveTo>
                <a:lnTo>
                  <a:pt x="4989871" y="4720"/>
                </a:lnTo>
                <a:lnTo>
                  <a:pt x="4744720" y="681136"/>
                </a:lnTo>
                <a:lnTo>
                  <a:pt x="0" y="681136"/>
                </a:lnTo>
                <a:lnTo>
                  <a:pt x="210206" y="0"/>
                </a:lnTo>
                <a:close/>
              </a:path>
            </a:pathLst>
          </a:custGeom>
          <a:solidFill>
            <a:srgbClr val="B2EA63"/>
          </a:solidFill>
        </p:spPr>
        <p:txBody>
          <a:bodyPr lIns="900000" tIns="216000" rIns="216000" bIns="216000" anchor="t" anchorCtr="0"/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="1" i="0" cap="all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1827B8B-8EFA-AE4A-BAE9-F915223A86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7400000" flipV="1">
            <a:off x="-2506633" y="2737316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477D299-5829-4A46-9D3E-B72279E61C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7400000" flipV="1">
            <a:off x="-2687261" y="2737315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6863DE2-557F-554C-A712-01E392D792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7400000" flipV="1">
            <a:off x="-2860675" y="2737313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AE0E4B-EE89-514A-AAEC-B4A13250FA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7400000" flipV="1">
            <a:off x="-3023056" y="2737310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9E96452-8775-E540-AE09-503726FA4B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7400000" flipV="1">
            <a:off x="-3174150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0C3273C-FFFA-A841-98A1-2F77812DDC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7400000" flipV="1">
            <a:off x="-3336531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608B014-3A79-8E4B-A6AB-2103509F3F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7400000" flipV="1">
            <a:off x="-3507179" y="2749340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8A1C427-B54E-AC4A-9E9A-03C8FA60994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7400000" flipV="1">
            <a:off x="-3705390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4451733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ull Edita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BC9B9407-A656-6D47-B3D0-6FB6A19A88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2" cy="686752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00626F"/>
                </a:solidFill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C340000-D5A3-ED47-8762-B99859DF97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8248" y="2550696"/>
            <a:ext cx="5843752" cy="3469104"/>
          </a:xfrm>
          <a:prstGeom prst="rect">
            <a:avLst/>
          </a:prstGeom>
          <a:solidFill>
            <a:srgbClr val="B5E3DF"/>
          </a:solidFill>
        </p:spPr>
        <p:txBody>
          <a:bodyPr lIns="360000" tIns="792000" rIns="720000" bIns="540000">
            <a:normAutofit/>
          </a:bodyPr>
          <a:lstStyle>
            <a:lvl1pPr marL="0" indent="0">
              <a:lnSpc>
                <a:spcPts val="2400"/>
              </a:lnSpc>
              <a:spcBef>
                <a:spcPts val="500"/>
              </a:spcBef>
              <a:buFontTx/>
              <a:buNone/>
              <a:defRPr sz="2000" baseline="0">
                <a:solidFill>
                  <a:srgbClr val="004957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3AC7253-305D-354A-BC37-329EB2D081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9928" y="2293864"/>
            <a:ext cx="5843752" cy="718473"/>
          </a:xfrm>
          <a:custGeom>
            <a:avLst/>
            <a:gdLst>
              <a:gd name="connsiteX0" fmla="*/ 0 w 4744720"/>
              <a:gd name="connsiteY0" fmla="*/ 0 h 671172"/>
              <a:gd name="connsiteX1" fmla="*/ 4744720 w 4744720"/>
              <a:gd name="connsiteY1" fmla="*/ 0 h 671172"/>
              <a:gd name="connsiteX2" fmla="*/ 4744720 w 4744720"/>
              <a:gd name="connsiteY2" fmla="*/ 671172 h 671172"/>
              <a:gd name="connsiteX3" fmla="*/ 0 w 4744720"/>
              <a:gd name="connsiteY3" fmla="*/ 671172 h 671172"/>
              <a:gd name="connsiteX4" fmla="*/ 0 w 4744720"/>
              <a:gd name="connsiteY4" fmla="*/ 0 h 671172"/>
              <a:gd name="connsiteX0" fmla="*/ 0 w 4978400"/>
              <a:gd name="connsiteY0" fmla="*/ 0 h 671172"/>
              <a:gd name="connsiteX1" fmla="*/ 4978400 w 4978400"/>
              <a:gd name="connsiteY1" fmla="*/ 10160 h 671172"/>
              <a:gd name="connsiteX2" fmla="*/ 4744720 w 4978400"/>
              <a:gd name="connsiteY2" fmla="*/ 671172 h 671172"/>
              <a:gd name="connsiteX3" fmla="*/ 0 w 4978400"/>
              <a:gd name="connsiteY3" fmla="*/ 671172 h 671172"/>
              <a:gd name="connsiteX4" fmla="*/ 0 w 4978400"/>
              <a:gd name="connsiteY4" fmla="*/ 0 h 671172"/>
              <a:gd name="connsiteX0" fmla="*/ 0 w 5008880"/>
              <a:gd name="connsiteY0" fmla="*/ 20320 h 691492"/>
              <a:gd name="connsiteX1" fmla="*/ 5008880 w 5008880"/>
              <a:gd name="connsiteY1" fmla="*/ 0 h 691492"/>
              <a:gd name="connsiteX2" fmla="*/ 4744720 w 5008880"/>
              <a:gd name="connsiteY2" fmla="*/ 691492 h 691492"/>
              <a:gd name="connsiteX3" fmla="*/ 0 w 5008880"/>
              <a:gd name="connsiteY3" fmla="*/ 691492 h 691492"/>
              <a:gd name="connsiteX4" fmla="*/ 0 w 5008880"/>
              <a:gd name="connsiteY4" fmla="*/ 20320 h 691492"/>
              <a:gd name="connsiteX0" fmla="*/ 0 w 5008880"/>
              <a:gd name="connsiteY0" fmla="*/ 0 h 671172"/>
              <a:gd name="connsiteX1" fmla="*/ 5008880 w 5008880"/>
              <a:gd name="connsiteY1" fmla="*/ 10160 h 671172"/>
              <a:gd name="connsiteX2" fmla="*/ 4744720 w 5008880"/>
              <a:gd name="connsiteY2" fmla="*/ 671172 h 671172"/>
              <a:gd name="connsiteX3" fmla="*/ 0 w 5008880"/>
              <a:gd name="connsiteY3" fmla="*/ 671172 h 671172"/>
              <a:gd name="connsiteX4" fmla="*/ 0 w 5008880"/>
              <a:gd name="connsiteY4" fmla="*/ 0 h 671172"/>
              <a:gd name="connsiteX0" fmla="*/ 0 w 5029200"/>
              <a:gd name="connsiteY0" fmla="*/ 10160 h 681332"/>
              <a:gd name="connsiteX1" fmla="*/ 5029200 w 5029200"/>
              <a:gd name="connsiteY1" fmla="*/ 0 h 681332"/>
              <a:gd name="connsiteX2" fmla="*/ 4744720 w 5029200"/>
              <a:gd name="connsiteY2" fmla="*/ 681332 h 681332"/>
              <a:gd name="connsiteX3" fmla="*/ 0 w 5029200"/>
              <a:gd name="connsiteY3" fmla="*/ 681332 h 681332"/>
              <a:gd name="connsiteX4" fmla="*/ 0 w 5029200"/>
              <a:gd name="connsiteY4" fmla="*/ 10160 h 681332"/>
              <a:gd name="connsiteX0" fmla="*/ 0 w 4989871"/>
              <a:gd name="connsiteY0" fmla="*/ 5244 h 676416"/>
              <a:gd name="connsiteX1" fmla="*/ 4989871 w 4989871"/>
              <a:gd name="connsiteY1" fmla="*/ 0 h 676416"/>
              <a:gd name="connsiteX2" fmla="*/ 4744720 w 4989871"/>
              <a:gd name="connsiteY2" fmla="*/ 676416 h 676416"/>
              <a:gd name="connsiteX3" fmla="*/ 0 w 4989871"/>
              <a:gd name="connsiteY3" fmla="*/ 676416 h 676416"/>
              <a:gd name="connsiteX4" fmla="*/ 0 w 4989871"/>
              <a:gd name="connsiteY4" fmla="*/ 5244 h 676416"/>
              <a:gd name="connsiteX0" fmla="*/ 210206 w 4989871"/>
              <a:gd name="connsiteY0" fmla="*/ 0 h 681136"/>
              <a:gd name="connsiteX1" fmla="*/ 4989871 w 4989871"/>
              <a:gd name="connsiteY1" fmla="*/ 4720 h 681136"/>
              <a:gd name="connsiteX2" fmla="*/ 4744720 w 4989871"/>
              <a:gd name="connsiteY2" fmla="*/ 681136 h 681136"/>
              <a:gd name="connsiteX3" fmla="*/ 0 w 4989871"/>
              <a:gd name="connsiteY3" fmla="*/ 681136 h 681136"/>
              <a:gd name="connsiteX4" fmla="*/ 210206 w 4989871"/>
              <a:gd name="connsiteY4" fmla="*/ 0 h 681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89871" h="681136">
                <a:moveTo>
                  <a:pt x="210206" y="0"/>
                </a:moveTo>
                <a:lnTo>
                  <a:pt x="4989871" y="4720"/>
                </a:lnTo>
                <a:lnTo>
                  <a:pt x="4744720" y="681136"/>
                </a:lnTo>
                <a:lnTo>
                  <a:pt x="0" y="681136"/>
                </a:lnTo>
                <a:lnTo>
                  <a:pt x="210206" y="0"/>
                </a:lnTo>
                <a:close/>
              </a:path>
            </a:pathLst>
          </a:custGeom>
          <a:solidFill>
            <a:srgbClr val="2D7770"/>
          </a:solidFill>
        </p:spPr>
        <p:txBody>
          <a:bodyPr lIns="900000" tIns="216000" rIns="216000" bIns="216000" anchor="t" anchorCtr="0"/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="1" i="0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1827B8B-8EFA-AE4A-BAE9-F915223A86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7400000" flipV="1">
            <a:off x="-2506633" y="2737316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477D299-5829-4A46-9D3E-B72279E61C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7400000" flipV="1">
            <a:off x="-2687261" y="2737315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6863DE2-557F-554C-A712-01E392D792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7400000" flipV="1">
            <a:off x="-2860675" y="2737313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AE0E4B-EE89-514A-AAEC-B4A13250FA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7400000" flipV="1">
            <a:off x="-3023056" y="2737310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9E96452-8775-E540-AE09-503726FA4B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7400000" flipV="1">
            <a:off x="-3174150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0C3273C-FFFA-A841-98A1-2F77812DDC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7400000" flipV="1">
            <a:off x="-3336531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608B014-3A79-8E4B-A6AB-2103509F3F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7400000" flipV="1">
            <a:off x="-3507179" y="2749340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8A1C427-B54E-AC4A-9E9A-03C8FA60994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7400000" flipV="1">
            <a:off x="-3705390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304204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ull Edita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BC9B9407-A656-6D47-B3D0-6FB6A19A88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2" cy="686752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00626F"/>
                </a:solidFill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C340000-D5A3-ED47-8762-B99859DF97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8248" y="2550696"/>
            <a:ext cx="5843752" cy="3469104"/>
          </a:xfrm>
          <a:prstGeom prst="rect">
            <a:avLst/>
          </a:prstGeom>
          <a:solidFill>
            <a:srgbClr val="426D16"/>
          </a:solidFill>
        </p:spPr>
        <p:txBody>
          <a:bodyPr lIns="360000" tIns="792000" rIns="720000" bIns="540000">
            <a:normAutofit/>
          </a:bodyPr>
          <a:lstStyle>
            <a:lvl1pPr marL="0" indent="0">
              <a:lnSpc>
                <a:spcPts val="2400"/>
              </a:lnSpc>
              <a:spcBef>
                <a:spcPts val="500"/>
              </a:spcBef>
              <a:buFontTx/>
              <a:buNone/>
              <a:defRPr sz="20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1827B8B-8EFA-AE4A-BAE9-F915223A86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7400000" flipV="1">
            <a:off x="-2506633" y="2737316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477D299-5829-4A46-9D3E-B72279E61C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7400000" flipV="1">
            <a:off x="-2687261" y="2737315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6863DE2-557F-554C-A712-01E392D792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7400000" flipV="1">
            <a:off x="-2860675" y="2737313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AE0E4B-EE89-514A-AAEC-B4A13250FA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7400000" flipV="1">
            <a:off x="-3023056" y="2737310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9E96452-8775-E540-AE09-503726FA4B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7400000" flipV="1">
            <a:off x="-3174150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0C3273C-FFFA-A841-98A1-2F77812DDC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7400000" flipV="1">
            <a:off x="-3336531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608B014-3A79-8E4B-A6AB-2103509F3F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7400000" flipV="1">
            <a:off x="-3507179" y="2749340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8A1C427-B54E-AC4A-9E9A-03C8FA60994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7400000" flipV="1">
            <a:off x="-3705390" y="2737318"/>
            <a:ext cx="5831026" cy="7200"/>
          </a:xfrm>
          <a:prstGeom prst="rect">
            <a:avLst/>
          </a:prstGeom>
          <a:solidFill>
            <a:srgbClr val="4AAD4A"/>
          </a:solid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11BCF02-0D5A-DD49-B6DA-4A1C9AF672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9928" y="2293864"/>
            <a:ext cx="5843752" cy="718473"/>
          </a:xfrm>
          <a:custGeom>
            <a:avLst/>
            <a:gdLst>
              <a:gd name="connsiteX0" fmla="*/ 0 w 4744720"/>
              <a:gd name="connsiteY0" fmla="*/ 0 h 671172"/>
              <a:gd name="connsiteX1" fmla="*/ 4744720 w 4744720"/>
              <a:gd name="connsiteY1" fmla="*/ 0 h 671172"/>
              <a:gd name="connsiteX2" fmla="*/ 4744720 w 4744720"/>
              <a:gd name="connsiteY2" fmla="*/ 671172 h 671172"/>
              <a:gd name="connsiteX3" fmla="*/ 0 w 4744720"/>
              <a:gd name="connsiteY3" fmla="*/ 671172 h 671172"/>
              <a:gd name="connsiteX4" fmla="*/ 0 w 4744720"/>
              <a:gd name="connsiteY4" fmla="*/ 0 h 671172"/>
              <a:gd name="connsiteX0" fmla="*/ 0 w 4978400"/>
              <a:gd name="connsiteY0" fmla="*/ 0 h 671172"/>
              <a:gd name="connsiteX1" fmla="*/ 4978400 w 4978400"/>
              <a:gd name="connsiteY1" fmla="*/ 10160 h 671172"/>
              <a:gd name="connsiteX2" fmla="*/ 4744720 w 4978400"/>
              <a:gd name="connsiteY2" fmla="*/ 671172 h 671172"/>
              <a:gd name="connsiteX3" fmla="*/ 0 w 4978400"/>
              <a:gd name="connsiteY3" fmla="*/ 671172 h 671172"/>
              <a:gd name="connsiteX4" fmla="*/ 0 w 4978400"/>
              <a:gd name="connsiteY4" fmla="*/ 0 h 671172"/>
              <a:gd name="connsiteX0" fmla="*/ 0 w 5008880"/>
              <a:gd name="connsiteY0" fmla="*/ 20320 h 691492"/>
              <a:gd name="connsiteX1" fmla="*/ 5008880 w 5008880"/>
              <a:gd name="connsiteY1" fmla="*/ 0 h 691492"/>
              <a:gd name="connsiteX2" fmla="*/ 4744720 w 5008880"/>
              <a:gd name="connsiteY2" fmla="*/ 691492 h 691492"/>
              <a:gd name="connsiteX3" fmla="*/ 0 w 5008880"/>
              <a:gd name="connsiteY3" fmla="*/ 691492 h 691492"/>
              <a:gd name="connsiteX4" fmla="*/ 0 w 5008880"/>
              <a:gd name="connsiteY4" fmla="*/ 20320 h 691492"/>
              <a:gd name="connsiteX0" fmla="*/ 0 w 5008880"/>
              <a:gd name="connsiteY0" fmla="*/ 0 h 671172"/>
              <a:gd name="connsiteX1" fmla="*/ 5008880 w 5008880"/>
              <a:gd name="connsiteY1" fmla="*/ 10160 h 671172"/>
              <a:gd name="connsiteX2" fmla="*/ 4744720 w 5008880"/>
              <a:gd name="connsiteY2" fmla="*/ 671172 h 671172"/>
              <a:gd name="connsiteX3" fmla="*/ 0 w 5008880"/>
              <a:gd name="connsiteY3" fmla="*/ 671172 h 671172"/>
              <a:gd name="connsiteX4" fmla="*/ 0 w 5008880"/>
              <a:gd name="connsiteY4" fmla="*/ 0 h 671172"/>
              <a:gd name="connsiteX0" fmla="*/ 0 w 5029200"/>
              <a:gd name="connsiteY0" fmla="*/ 10160 h 681332"/>
              <a:gd name="connsiteX1" fmla="*/ 5029200 w 5029200"/>
              <a:gd name="connsiteY1" fmla="*/ 0 h 681332"/>
              <a:gd name="connsiteX2" fmla="*/ 4744720 w 5029200"/>
              <a:gd name="connsiteY2" fmla="*/ 681332 h 681332"/>
              <a:gd name="connsiteX3" fmla="*/ 0 w 5029200"/>
              <a:gd name="connsiteY3" fmla="*/ 681332 h 681332"/>
              <a:gd name="connsiteX4" fmla="*/ 0 w 5029200"/>
              <a:gd name="connsiteY4" fmla="*/ 10160 h 681332"/>
              <a:gd name="connsiteX0" fmla="*/ 0 w 4989871"/>
              <a:gd name="connsiteY0" fmla="*/ 5244 h 676416"/>
              <a:gd name="connsiteX1" fmla="*/ 4989871 w 4989871"/>
              <a:gd name="connsiteY1" fmla="*/ 0 h 676416"/>
              <a:gd name="connsiteX2" fmla="*/ 4744720 w 4989871"/>
              <a:gd name="connsiteY2" fmla="*/ 676416 h 676416"/>
              <a:gd name="connsiteX3" fmla="*/ 0 w 4989871"/>
              <a:gd name="connsiteY3" fmla="*/ 676416 h 676416"/>
              <a:gd name="connsiteX4" fmla="*/ 0 w 4989871"/>
              <a:gd name="connsiteY4" fmla="*/ 5244 h 676416"/>
              <a:gd name="connsiteX0" fmla="*/ 210206 w 4989871"/>
              <a:gd name="connsiteY0" fmla="*/ 0 h 681136"/>
              <a:gd name="connsiteX1" fmla="*/ 4989871 w 4989871"/>
              <a:gd name="connsiteY1" fmla="*/ 4720 h 681136"/>
              <a:gd name="connsiteX2" fmla="*/ 4744720 w 4989871"/>
              <a:gd name="connsiteY2" fmla="*/ 681136 h 681136"/>
              <a:gd name="connsiteX3" fmla="*/ 0 w 4989871"/>
              <a:gd name="connsiteY3" fmla="*/ 681136 h 681136"/>
              <a:gd name="connsiteX4" fmla="*/ 210206 w 4989871"/>
              <a:gd name="connsiteY4" fmla="*/ 0 h 681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89871" h="681136">
                <a:moveTo>
                  <a:pt x="210206" y="0"/>
                </a:moveTo>
                <a:lnTo>
                  <a:pt x="4989871" y="4720"/>
                </a:lnTo>
                <a:lnTo>
                  <a:pt x="4744720" y="681136"/>
                </a:lnTo>
                <a:lnTo>
                  <a:pt x="0" y="681136"/>
                </a:lnTo>
                <a:lnTo>
                  <a:pt x="210206" y="0"/>
                </a:lnTo>
                <a:close/>
              </a:path>
            </a:pathLst>
          </a:custGeom>
          <a:solidFill>
            <a:srgbClr val="B2EA63"/>
          </a:solidFill>
        </p:spPr>
        <p:txBody>
          <a:bodyPr lIns="900000" tIns="216000" rIns="216000" bIns="216000" anchor="t" anchorCtr="0"/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="1" i="0" cap="all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069231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F2A7C4B5-CC7B-154B-8B74-834482DECC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3" y="6405563"/>
            <a:ext cx="28749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26DA6B0-1FBA-C240-BF02-1D6A12599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2633" y="1781781"/>
            <a:ext cx="10258588" cy="401957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BC7C20E-6FBB-1D4A-B932-31CB0E3755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" y="441796"/>
            <a:ext cx="6522721" cy="713494"/>
          </a:xfrm>
          <a:custGeom>
            <a:avLst/>
            <a:gdLst>
              <a:gd name="connsiteX0" fmla="*/ 0 w 4744720"/>
              <a:gd name="connsiteY0" fmla="*/ 0 h 671172"/>
              <a:gd name="connsiteX1" fmla="*/ 4744720 w 4744720"/>
              <a:gd name="connsiteY1" fmla="*/ 0 h 671172"/>
              <a:gd name="connsiteX2" fmla="*/ 4744720 w 4744720"/>
              <a:gd name="connsiteY2" fmla="*/ 671172 h 671172"/>
              <a:gd name="connsiteX3" fmla="*/ 0 w 4744720"/>
              <a:gd name="connsiteY3" fmla="*/ 671172 h 671172"/>
              <a:gd name="connsiteX4" fmla="*/ 0 w 4744720"/>
              <a:gd name="connsiteY4" fmla="*/ 0 h 671172"/>
              <a:gd name="connsiteX0" fmla="*/ 0 w 4978400"/>
              <a:gd name="connsiteY0" fmla="*/ 0 h 671172"/>
              <a:gd name="connsiteX1" fmla="*/ 4978400 w 4978400"/>
              <a:gd name="connsiteY1" fmla="*/ 10160 h 671172"/>
              <a:gd name="connsiteX2" fmla="*/ 4744720 w 4978400"/>
              <a:gd name="connsiteY2" fmla="*/ 671172 h 671172"/>
              <a:gd name="connsiteX3" fmla="*/ 0 w 4978400"/>
              <a:gd name="connsiteY3" fmla="*/ 671172 h 671172"/>
              <a:gd name="connsiteX4" fmla="*/ 0 w 4978400"/>
              <a:gd name="connsiteY4" fmla="*/ 0 h 671172"/>
              <a:gd name="connsiteX0" fmla="*/ 0 w 5008880"/>
              <a:gd name="connsiteY0" fmla="*/ 20320 h 691492"/>
              <a:gd name="connsiteX1" fmla="*/ 5008880 w 5008880"/>
              <a:gd name="connsiteY1" fmla="*/ 0 h 691492"/>
              <a:gd name="connsiteX2" fmla="*/ 4744720 w 5008880"/>
              <a:gd name="connsiteY2" fmla="*/ 691492 h 691492"/>
              <a:gd name="connsiteX3" fmla="*/ 0 w 5008880"/>
              <a:gd name="connsiteY3" fmla="*/ 691492 h 691492"/>
              <a:gd name="connsiteX4" fmla="*/ 0 w 5008880"/>
              <a:gd name="connsiteY4" fmla="*/ 20320 h 691492"/>
              <a:gd name="connsiteX0" fmla="*/ 0 w 5008880"/>
              <a:gd name="connsiteY0" fmla="*/ 0 h 671172"/>
              <a:gd name="connsiteX1" fmla="*/ 5008880 w 5008880"/>
              <a:gd name="connsiteY1" fmla="*/ 10160 h 671172"/>
              <a:gd name="connsiteX2" fmla="*/ 4744720 w 5008880"/>
              <a:gd name="connsiteY2" fmla="*/ 671172 h 671172"/>
              <a:gd name="connsiteX3" fmla="*/ 0 w 5008880"/>
              <a:gd name="connsiteY3" fmla="*/ 671172 h 671172"/>
              <a:gd name="connsiteX4" fmla="*/ 0 w 5008880"/>
              <a:gd name="connsiteY4" fmla="*/ 0 h 671172"/>
              <a:gd name="connsiteX0" fmla="*/ 0 w 5029200"/>
              <a:gd name="connsiteY0" fmla="*/ 10160 h 681332"/>
              <a:gd name="connsiteX1" fmla="*/ 5029200 w 5029200"/>
              <a:gd name="connsiteY1" fmla="*/ 0 h 681332"/>
              <a:gd name="connsiteX2" fmla="*/ 4744720 w 5029200"/>
              <a:gd name="connsiteY2" fmla="*/ 681332 h 681332"/>
              <a:gd name="connsiteX3" fmla="*/ 0 w 5029200"/>
              <a:gd name="connsiteY3" fmla="*/ 681332 h 681332"/>
              <a:gd name="connsiteX4" fmla="*/ 0 w 5029200"/>
              <a:gd name="connsiteY4" fmla="*/ 10160 h 681332"/>
              <a:gd name="connsiteX0" fmla="*/ 0 w 4989871"/>
              <a:gd name="connsiteY0" fmla="*/ 5244 h 676416"/>
              <a:gd name="connsiteX1" fmla="*/ 4989871 w 4989871"/>
              <a:gd name="connsiteY1" fmla="*/ 0 h 676416"/>
              <a:gd name="connsiteX2" fmla="*/ 4744720 w 4989871"/>
              <a:gd name="connsiteY2" fmla="*/ 676416 h 676416"/>
              <a:gd name="connsiteX3" fmla="*/ 0 w 4989871"/>
              <a:gd name="connsiteY3" fmla="*/ 676416 h 676416"/>
              <a:gd name="connsiteX4" fmla="*/ 0 w 4989871"/>
              <a:gd name="connsiteY4" fmla="*/ 5244 h 676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89871" h="676416">
                <a:moveTo>
                  <a:pt x="0" y="5244"/>
                </a:moveTo>
                <a:lnTo>
                  <a:pt x="4989871" y="0"/>
                </a:lnTo>
                <a:lnTo>
                  <a:pt x="4744720" y="676416"/>
                </a:lnTo>
                <a:lnTo>
                  <a:pt x="0" y="676416"/>
                </a:lnTo>
                <a:lnTo>
                  <a:pt x="0" y="5244"/>
                </a:lnTo>
                <a:close/>
              </a:path>
            </a:pathLst>
          </a:custGeom>
          <a:solidFill>
            <a:srgbClr val="00626F"/>
          </a:solidFill>
        </p:spPr>
        <p:txBody>
          <a:bodyPr lIns="900000" tIns="216000" rIns="216000" bIns="216000" anchor="t" anchorCtr="0"/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="1" i="0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slide header</a:t>
            </a:r>
          </a:p>
        </p:txBody>
      </p:sp>
      <p:pic>
        <p:nvPicPr>
          <p:cNvPr id="3" name="Picture 2" descr="A picture containing building, clock&#10;&#10;Description automatically generated">
            <a:extLst>
              <a:ext uri="{FF2B5EF4-FFF2-40B4-BE49-F238E27FC236}">
                <a16:creationId xmlns:a16="http://schemas.microsoft.com/office/drawing/2014/main" id="{EC0EB6EA-4365-BC48-A4E6-9584344FBC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47200" y="5076219"/>
            <a:ext cx="2441126" cy="1830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88250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4998033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806610E-B952-4ED2-8BB8-6651DDBD9EF9}"/>
              </a:ext>
            </a:extLst>
          </p:cNvPr>
          <p:cNvGrpSpPr/>
          <p:nvPr userDrawn="1"/>
        </p:nvGrpSpPr>
        <p:grpSpPr>
          <a:xfrm>
            <a:off x="0" y="5784977"/>
            <a:ext cx="12068175" cy="962025"/>
            <a:chOff x="0" y="5784977"/>
            <a:chExt cx="12068175" cy="962025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4105A8C-E861-43EC-A8FE-98EB992059D5}"/>
                </a:ext>
              </a:extLst>
            </p:cNvPr>
            <p:cNvGrpSpPr/>
            <p:nvPr userDrawn="1"/>
          </p:nvGrpSpPr>
          <p:grpSpPr>
            <a:xfrm>
              <a:off x="0" y="5784977"/>
              <a:ext cx="12068175" cy="962025"/>
              <a:chOff x="0" y="5784977"/>
              <a:chExt cx="12068175" cy="962025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48768A93-EABB-4969-9666-5FAE945E2972}"/>
                  </a:ext>
                </a:extLst>
              </p:cNvPr>
              <p:cNvSpPr/>
              <p:nvPr userDrawn="1"/>
            </p:nvSpPr>
            <p:spPr>
              <a:xfrm>
                <a:off x="0" y="5784977"/>
                <a:ext cx="12068175" cy="96202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40D1845C-4014-476F-A138-FB0B7DD1D0A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1443698" y="5784977"/>
                <a:ext cx="9304603" cy="946276"/>
              </a:xfrm>
              <a:prstGeom prst="rect">
                <a:avLst/>
              </a:prstGeom>
            </p:spPr>
          </p:pic>
        </p:grpSp>
        <p:pic>
          <p:nvPicPr>
            <p:cNvPr id="7" name="Picture 6" descr="Text&#10;&#10;Description automatically generated">
              <a:extLst>
                <a:ext uri="{FF2B5EF4-FFF2-40B4-BE49-F238E27FC236}">
                  <a16:creationId xmlns:a16="http://schemas.microsoft.com/office/drawing/2014/main" id="{E6D55586-08A0-44C7-AC7F-AD08BCB275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3173550" y="6086475"/>
              <a:ext cx="1874700" cy="5683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737594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0"/>
          <p:cNvSpPr txBox="1">
            <a:spLocks noGrp="1"/>
          </p:cNvSpPr>
          <p:nvPr>
            <p:ph type="title"/>
          </p:nvPr>
        </p:nvSpPr>
        <p:spPr>
          <a:xfrm>
            <a:off x="1218522" y="661145"/>
            <a:ext cx="9754953" cy="293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20"/>
          <p:cNvSpPr txBox="1">
            <a:spLocks noGrp="1"/>
          </p:cNvSpPr>
          <p:nvPr>
            <p:ph type="body" idx="1"/>
          </p:nvPr>
        </p:nvSpPr>
        <p:spPr>
          <a:xfrm>
            <a:off x="956247" y="2201381"/>
            <a:ext cx="5388648" cy="1710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03433" lvl="0" indent="-201717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35" b="0" i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806867" lvl="1" indent="-20171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210300" lvl="2" indent="-20171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613733" lvl="3" indent="-20171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017166" lvl="4" indent="-20171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420600" lvl="5" indent="-20171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2824033" lvl="6" indent="-20171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227466" lvl="7" indent="-20171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3630900" lvl="8" indent="-20171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20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20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0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300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7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94" name="Google Shape;27294;p3"/>
          <p:cNvSpPr txBox="1">
            <a:spLocks noGrp="1"/>
          </p:cNvSpPr>
          <p:nvPr>
            <p:ph type="title"/>
          </p:nvPr>
        </p:nvSpPr>
        <p:spPr>
          <a:xfrm>
            <a:off x="452285" y="245807"/>
            <a:ext cx="7335000" cy="51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Font typeface="Georgia"/>
              <a:buNone/>
              <a:defRPr sz="2200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7295" name="Google Shape;27295;p3"/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8910484" y="69238"/>
            <a:ext cx="1371600" cy="7048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541012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380587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2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873104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s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458263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A close up of a logo&#10;&#10;Description automatically generated">
            <a:extLst>
              <a:ext uri="{FF2B5EF4-FFF2-40B4-BE49-F238E27FC236}">
                <a16:creationId xmlns:a16="http://schemas.microsoft.com/office/drawing/2014/main" id="{44F32D11-84B6-0045-8413-65E16F45F5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5DB08E1-1F45-5D4B-BFA1-B6984A17C712}"/>
              </a:ext>
            </a:extLst>
          </p:cNvPr>
          <p:cNvSpPr/>
          <p:nvPr/>
        </p:nvSpPr>
        <p:spPr>
          <a:xfrm>
            <a:off x="714375" y="6302375"/>
            <a:ext cx="3252788" cy="4254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B2FA215D-7D65-2A46-B4AA-C4DAFBA2D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3" y="6405563"/>
            <a:ext cx="28749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4983" y="1494791"/>
            <a:ext cx="10762034" cy="3709507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 algn="ctr">
              <a:lnSpc>
                <a:spcPts val="6000"/>
              </a:lnSpc>
              <a:spcBef>
                <a:spcPts val="1000"/>
              </a:spcBef>
              <a:buFontTx/>
              <a:buNone/>
              <a:defRPr sz="6000" b="1" i="0" cap="all" baseline="0">
                <a:solidFill>
                  <a:srgbClr val="2D7770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he text for this quote</a:t>
            </a:r>
          </a:p>
        </p:txBody>
      </p:sp>
    </p:spTree>
    <p:extLst>
      <p:ext uri="{BB962C8B-B14F-4D97-AF65-F5344CB8AC3E}">
        <p14:creationId xmlns:p14="http://schemas.microsoft.com/office/powerpoint/2010/main" val="4250442576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pac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>
            <a:extLst>
              <a:ext uri="{FF2B5EF4-FFF2-40B4-BE49-F238E27FC236}">
                <a16:creationId xmlns:a16="http://schemas.microsoft.com/office/drawing/2014/main" id="{A099D98C-E3DF-D04E-9E57-9E9A30255004}"/>
              </a:ext>
            </a:extLst>
          </p:cNvPr>
          <p:cNvSpPr/>
          <p:nvPr userDrawn="1"/>
        </p:nvSpPr>
        <p:spPr>
          <a:xfrm>
            <a:off x="5062538" y="0"/>
            <a:ext cx="7129462" cy="6858000"/>
          </a:xfrm>
          <a:custGeom>
            <a:avLst/>
            <a:gdLst>
              <a:gd name="connsiteX0" fmla="*/ 0 w 4619105"/>
              <a:gd name="connsiteY0" fmla="*/ 0 h 6858000"/>
              <a:gd name="connsiteX1" fmla="*/ 4619105 w 4619105"/>
              <a:gd name="connsiteY1" fmla="*/ 0 h 6858000"/>
              <a:gd name="connsiteX2" fmla="*/ 4619105 w 4619105"/>
              <a:gd name="connsiteY2" fmla="*/ 6858000 h 6858000"/>
              <a:gd name="connsiteX3" fmla="*/ 0 w 4619105"/>
              <a:gd name="connsiteY3" fmla="*/ 6858000 h 6858000"/>
              <a:gd name="connsiteX4" fmla="*/ 0 w 4619105"/>
              <a:gd name="connsiteY4" fmla="*/ 0 h 6858000"/>
              <a:gd name="connsiteX0" fmla="*/ 2510444 w 7129549"/>
              <a:gd name="connsiteY0" fmla="*/ 0 h 6858000"/>
              <a:gd name="connsiteX1" fmla="*/ 7129549 w 7129549"/>
              <a:gd name="connsiteY1" fmla="*/ 0 h 6858000"/>
              <a:gd name="connsiteX2" fmla="*/ 7129549 w 7129549"/>
              <a:gd name="connsiteY2" fmla="*/ 6858000 h 6858000"/>
              <a:gd name="connsiteX3" fmla="*/ 0 w 7129549"/>
              <a:gd name="connsiteY3" fmla="*/ 6849687 h 6858000"/>
              <a:gd name="connsiteX4" fmla="*/ 2510444 w 7129549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29549" h="6858000">
                <a:moveTo>
                  <a:pt x="2510444" y="0"/>
                </a:moveTo>
                <a:lnTo>
                  <a:pt x="7129549" y="0"/>
                </a:lnTo>
                <a:lnTo>
                  <a:pt x="7129549" y="6858000"/>
                </a:lnTo>
                <a:lnTo>
                  <a:pt x="0" y="6849687"/>
                </a:lnTo>
                <a:lnTo>
                  <a:pt x="2510444" y="0"/>
                </a:lnTo>
                <a:close/>
              </a:path>
            </a:pathLst>
          </a:custGeom>
          <a:solidFill>
            <a:srgbClr val="B2EA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2A7C4B5-CC7B-154B-8B74-834482DECC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3" y="6405563"/>
            <a:ext cx="28749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26DA6B0-1FBA-C240-BF02-1D6A12599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2633" y="2090184"/>
            <a:ext cx="4020890" cy="36496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165DAA-C70D-4240-B179-E48999B8BB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18885" y="3044954"/>
            <a:ext cx="3580482" cy="1025922"/>
          </a:xfrm>
          <a:prstGeom prst="rect">
            <a:avLst/>
          </a:prstGeom>
        </p:spPr>
        <p:txBody>
          <a:bodyPr lIns="0" tIns="0" rIns="0" bIns="0" anchor="ctr" anchorCtr="1">
            <a:spAutoFit/>
          </a:bodyPr>
          <a:lstStyle>
            <a:lvl1pPr marL="0" indent="0" algn="ctr">
              <a:lnSpc>
                <a:spcPts val="4000"/>
              </a:lnSpc>
              <a:spcBef>
                <a:spcPts val="1000"/>
              </a:spcBef>
              <a:buFontTx/>
              <a:buNone/>
              <a:defRPr sz="3600" b="1" i="0" baseline="0">
                <a:solidFill>
                  <a:srgbClr val="2D7770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impact quot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BC7C20E-6FBB-1D4A-B932-31CB0E3755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" y="441796"/>
            <a:ext cx="6522721" cy="713494"/>
          </a:xfrm>
          <a:custGeom>
            <a:avLst/>
            <a:gdLst>
              <a:gd name="connsiteX0" fmla="*/ 0 w 4744720"/>
              <a:gd name="connsiteY0" fmla="*/ 0 h 671172"/>
              <a:gd name="connsiteX1" fmla="*/ 4744720 w 4744720"/>
              <a:gd name="connsiteY1" fmla="*/ 0 h 671172"/>
              <a:gd name="connsiteX2" fmla="*/ 4744720 w 4744720"/>
              <a:gd name="connsiteY2" fmla="*/ 671172 h 671172"/>
              <a:gd name="connsiteX3" fmla="*/ 0 w 4744720"/>
              <a:gd name="connsiteY3" fmla="*/ 671172 h 671172"/>
              <a:gd name="connsiteX4" fmla="*/ 0 w 4744720"/>
              <a:gd name="connsiteY4" fmla="*/ 0 h 671172"/>
              <a:gd name="connsiteX0" fmla="*/ 0 w 4978400"/>
              <a:gd name="connsiteY0" fmla="*/ 0 h 671172"/>
              <a:gd name="connsiteX1" fmla="*/ 4978400 w 4978400"/>
              <a:gd name="connsiteY1" fmla="*/ 10160 h 671172"/>
              <a:gd name="connsiteX2" fmla="*/ 4744720 w 4978400"/>
              <a:gd name="connsiteY2" fmla="*/ 671172 h 671172"/>
              <a:gd name="connsiteX3" fmla="*/ 0 w 4978400"/>
              <a:gd name="connsiteY3" fmla="*/ 671172 h 671172"/>
              <a:gd name="connsiteX4" fmla="*/ 0 w 4978400"/>
              <a:gd name="connsiteY4" fmla="*/ 0 h 671172"/>
              <a:gd name="connsiteX0" fmla="*/ 0 w 5008880"/>
              <a:gd name="connsiteY0" fmla="*/ 20320 h 691492"/>
              <a:gd name="connsiteX1" fmla="*/ 5008880 w 5008880"/>
              <a:gd name="connsiteY1" fmla="*/ 0 h 691492"/>
              <a:gd name="connsiteX2" fmla="*/ 4744720 w 5008880"/>
              <a:gd name="connsiteY2" fmla="*/ 691492 h 691492"/>
              <a:gd name="connsiteX3" fmla="*/ 0 w 5008880"/>
              <a:gd name="connsiteY3" fmla="*/ 691492 h 691492"/>
              <a:gd name="connsiteX4" fmla="*/ 0 w 5008880"/>
              <a:gd name="connsiteY4" fmla="*/ 20320 h 691492"/>
              <a:gd name="connsiteX0" fmla="*/ 0 w 5008880"/>
              <a:gd name="connsiteY0" fmla="*/ 0 h 671172"/>
              <a:gd name="connsiteX1" fmla="*/ 5008880 w 5008880"/>
              <a:gd name="connsiteY1" fmla="*/ 10160 h 671172"/>
              <a:gd name="connsiteX2" fmla="*/ 4744720 w 5008880"/>
              <a:gd name="connsiteY2" fmla="*/ 671172 h 671172"/>
              <a:gd name="connsiteX3" fmla="*/ 0 w 5008880"/>
              <a:gd name="connsiteY3" fmla="*/ 671172 h 671172"/>
              <a:gd name="connsiteX4" fmla="*/ 0 w 5008880"/>
              <a:gd name="connsiteY4" fmla="*/ 0 h 671172"/>
              <a:gd name="connsiteX0" fmla="*/ 0 w 5029200"/>
              <a:gd name="connsiteY0" fmla="*/ 10160 h 681332"/>
              <a:gd name="connsiteX1" fmla="*/ 5029200 w 5029200"/>
              <a:gd name="connsiteY1" fmla="*/ 0 h 681332"/>
              <a:gd name="connsiteX2" fmla="*/ 4744720 w 5029200"/>
              <a:gd name="connsiteY2" fmla="*/ 681332 h 681332"/>
              <a:gd name="connsiteX3" fmla="*/ 0 w 5029200"/>
              <a:gd name="connsiteY3" fmla="*/ 681332 h 681332"/>
              <a:gd name="connsiteX4" fmla="*/ 0 w 5029200"/>
              <a:gd name="connsiteY4" fmla="*/ 10160 h 681332"/>
              <a:gd name="connsiteX0" fmla="*/ 0 w 4989871"/>
              <a:gd name="connsiteY0" fmla="*/ 5244 h 676416"/>
              <a:gd name="connsiteX1" fmla="*/ 4989871 w 4989871"/>
              <a:gd name="connsiteY1" fmla="*/ 0 h 676416"/>
              <a:gd name="connsiteX2" fmla="*/ 4744720 w 4989871"/>
              <a:gd name="connsiteY2" fmla="*/ 676416 h 676416"/>
              <a:gd name="connsiteX3" fmla="*/ 0 w 4989871"/>
              <a:gd name="connsiteY3" fmla="*/ 676416 h 676416"/>
              <a:gd name="connsiteX4" fmla="*/ 0 w 4989871"/>
              <a:gd name="connsiteY4" fmla="*/ 5244 h 676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89871" h="676416">
                <a:moveTo>
                  <a:pt x="0" y="5244"/>
                </a:moveTo>
                <a:lnTo>
                  <a:pt x="4989871" y="0"/>
                </a:lnTo>
                <a:lnTo>
                  <a:pt x="4744720" y="676416"/>
                </a:lnTo>
                <a:lnTo>
                  <a:pt x="0" y="676416"/>
                </a:lnTo>
                <a:lnTo>
                  <a:pt x="0" y="5244"/>
                </a:lnTo>
                <a:close/>
              </a:path>
            </a:pathLst>
          </a:custGeom>
          <a:solidFill>
            <a:srgbClr val="00626F"/>
          </a:solidFill>
        </p:spPr>
        <p:txBody>
          <a:bodyPr lIns="900000" tIns="216000" rIns="216000" bIns="216000" anchor="t" anchorCtr="0"/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="1" i="0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slide header</a:t>
            </a:r>
          </a:p>
        </p:txBody>
      </p:sp>
    </p:spTree>
    <p:extLst>
      <p:ext uri="{BB962C8B-B14F-4D97-AF65-F5344CB8AC3E}">
        <p14:creationId xmlns:p14="http://schemas.microsoft.com/office/powerpoint/2010/main" val="423383668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pac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">
            <a:extLst>
              <a:ext uri="{FF2B5EF4-FFF2-40B4-BE49-F238E27FC236}">
                <a16:creationId xmlns:a16="http://schemas.microsoft.com/office/drawing/2014/main" id="{4044A60B-B1C1-9C4A-913C-FE9C476B31DF}"/>
              </a:ext>
            </a:extLst>
          </p:cNvPr>
          <p:cNvSpPr/>
          <p:nvPr userDrawn="1"/>
        </p:nvSpPr>
        <p:spPr>
          <a:xfrm>
            <a:off x="5062538" y="0"/>
            <a:ext cx="7129462" cy="6858000"/>
          </a:xfrm>
          <a:custGeom>
            <a:avLst/>
            <a:gdLst>
              <a:gd name="connsiteX0" fmla="*/ 0 w 4619105"/>
              <a:gd name="connsiteY0" fmla="*/ 0 h 6858000"/>
              <a:gd name="connsiteX1" fmla="*/ 4619105 w 4619105"/>
              <a:gd name="connsiteY1" fmla="*/ 0 h 6858000"/>
              <a:gd name="connsiteX2" fmla="*/ 4619105 w 4619105"/>
              <a:gd name="connsiteY2" fmla="*/ 6858000 h 6858000"/>
              <a:gd name="connsiteX3" fmla="*/ 0 w 4619105"/>
              <a:gd name="connsiteY3" fmla="*/ 6858000 h 6858000"/>
              <a:gd name="connsiteX4" fmla="*/ 0 w 4619105"/>
              <a:gd name="connsiteY4" fmla="*/ 0 h 6858000"/>
              <a:gd name="connsiteX0" fmla="*/ 2510444 w 7129549"/>
              <a:gd name="connsiteY0" fmla="*/ 0 h 6858000"/>
              <a:gd name="connsiteX1" fmla="*/ 7129549 w 7129549"/>
              <a:gd name="connsiteY1" fmla="*/ 0 h 6858000"/>
              <a:gd name="connsiteX2" fmla="*/ 7129549 w 7129549"/>
              <a:gd name="connsiteY2" fmla="*/ 6858000 h 6858000"/>
              <a:gd name="connsiteX3" fmla="*/ 0 w 7129549"/>
              <a:gd name="connsiteY3" fmla="*/ 6849687 h 6858000"/>
              <a:gd name="connsiteX4" fmla="*/ 2510444 w 7129549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29549" h="6858000">
                <a:moveTo>
                  <a:pt x="2510444" y="0"/>
                </a:moveTo>
                <a:lnTo>
                  <a:pt x="7129549" y="0"/>
                </a:lnTo>
                <a:lnTo>
                  <a:pt x="7129549" y="6858000"/>
                </a:lnTo>
                <a:lnTo>
                  <a:pt x="0" y="6849687"/>
                </a:lnTo>
                <a:lnTo>
                  <a:pt x="2510444" y="0"/>
                </a:lnTo>
                <a:close/>
              </a:path>
            </a:pathLst>
          </a:custGeom>
          <a:solidFill>
            <a:srgbClr val="2D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B5FAF37F-C8B0-6146-BEF8-2D669BCBF0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3" y="6405563"/>
            <a:ext cx="28749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100CB5-7C60-4446-919D-7B200E56E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2633" y="2297150"/>
            <a:ext cx="4020890" cy="344263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C600E19-A02E-1246-84A5-58F803334A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2633" y="648484"/>
            <a:ext cx="4504558" cy="108478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ts val="4200"/>
              </a:lnSpc>
              <a:spcBef>
                <a:spcPts val="1000"/>
              </a:spcBef>
              <a:buFontTx/>
              <a:buNone/>
              <a:defRPr sz="4200" b="1" i="0" cap="all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the slide header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1A63351-F0A7-A345-B38D-DC9D4BBDAD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18885" y="3044953"/>
            <a:ext cx="3580482" cy="1025922"/>
          </a:xfrm>
          <a:prstGeom prst="rect">
            <a:avLst/>
          </a:prstGeom>
        </p:spPr>
        <p:txBody>
          <a:bodyPr lIns="0" tIns="0" rIns="0" bIns="0" anchor="ctr" anchorCtr="1">
            <a:spAutoFit/>
          </a:bodyPr>
          <a:lstStyle>
            <a:lvl1pPr marL="0" indent="0" algn="ctr">
              <a:lnSpc>
                <a:spcPts val="4000"/>
              </a:lnSpc>
              <a:spcBef>
                <a:spcPts val="1000"/>
              </a:spcBef>
              <a:buFontTx/>
              <a:buNone/>
              <a:defRPr sz="3600" b="1" i="0" baseline="0">
                <a:solidFill>
                  <a:srgbClr val="B2EA63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impact quote</a:t>
            </a:r>
          </a:p>
        </p:txBody>
      </p:sp>
    </p:spTree>
    <p:extLst>
      <p:ext uri="{BB962C8B-B14F-4D97-AF65-F5344CB8AC3E}">
        <p14:creationId xmlns:p14="http://schemas.microsoft.com/office/powerpoint/2010/main" val="168267510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pac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">
            <a:extLst>
              <a:ext uri="{FF2B5EF4-FFF2-40B4-BE49-F238E27FC236}">
                <a16:creationId xmlns:a16="http://schemas.microsoft.com/office/drawing/2014/main" id="{E6CBA1CD-7066-F541-A54D-56EE4F94A43D}"/>
              </a:ext>
            </a:extLst>
          </p:cNvPr>
          <p:cNvSpPr/>
          <p:nvPr userDrawn="1"/>
        </p:nvSpPr>
        <p:spPr>
          <a:xfrm>
            <a:off x="5062538" y="0"/>
            <a:ext cx="7129462" cy="6858000"/>
          </a:xfrm>
          <a:custGeom>
            <a:avLst/>
            <a:gdLst>
              <a:gd name="connsiteX0" fmla="*/ 0 w 4619105"/>
              <a:gd name="connsiteY0" fmla="*/ 0 h 6858000"/>
              <a:gd name="connsiteX1" fmla="*/ 4619105 w 4619105"/>
              <a:gd name="connsiteY1" fmla="*/ 0 h 6858000"/>
              <a:gd name="connsiteX2" fmla="*/ 4619105 w 4619105"/>
              <a:gd name="connsiteY2" fmla="*/ 6858000 h 6858000"/>
              <a:gd name="connsiteX3" fmla="*/ 0 w 4619105"/>
              <a:gd name="connsiteY3" fmla="*/ 6858000 h 6858000"/>
              <a:gd name="connsiteX4" fmla="*/ 0 w 4619105"/>
              <a:gd name="connsiteY4" fmla="*/ 0 h 6858000"/>
              <a:gd name="connsiteX0" fmla="*/ 2510444 w 7129549"/>
              <a:gd name="connsiteY0" fmla="*/ 0 h 6858000"/>
              <a:gd name="connsiteX1" fmla="*/ 7129549 w 7129549"/>
              <a:gd name="connsiteY1" fmla="*/ 0 h 6858000"/>
              <a:gd name="connsiteX2" fmla="*/ 7129549 w 7129549"/>
              <a:gd name="connsiteY2" fmla="*/ 6858000 h 6858000"/>
              <a:gd name="connsiteX3" fmla="*/ 0 w 7129549"/>
              <a:gd name="connsiteY3" fmla="*/ 6849687 h 6858000"/>
              <a:gd name="connsiteX4" fmla="*/ 2510444 w 7129549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29549" h="6858000">
                <a:moveTo>
                  <a:pt x="2510444" y="0"/>
                </a:moveTo>
                <a:lnTo>
                  <a:pt x="7129549" y="0"/>
                </a:lnTo>
                <a:lnTo>
                  <a:pt x="7129549" y="6858000"/>
                </a:lnTo>
                <a:lnTo>
                  <a:pt x="0" y="6849687"/>
                </a:lnTo>
                <a:lnTo>
                  <a:pt x="2510444" y="0"/>
                </a:lnTo>
                <a:close/>
              </a:path>
            </a:pathLst>
          </a:custGeom>
          <a:solidFill>
            <a:srgbClr val="B5E3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8BFF3661-9947-E542-8E89-524657B9E7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3" y="6405563"/>
            <a:ext cx="28749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3F66A5-3305-BC4B-8999-08E2F829DC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2633" y="2090184"/>
            <a:ext cx="4020890" cy="36496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tex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582223E-11E7-B948-9133-8398A061E1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18885" y="3044954"/>
            <a:ext cx="3580482" cy="1025922"/>
          </a:xfrm>
          <a:prstGeom prst="rect">
            <a:avLst/>
          </a:prstGeom>
        </p:spPr>
        <p:txBody>
          <a:bodyPr lIns="0" tIns="0" rIns="0" bIns="0" anchor="ctr" anchorCtr="1">
            <a:spAutoFit/>
          </a:bodyPr>
          <a:lstStyle>
            <a:lvl1pPr marL="0" indent="0" algn="ctr">
              <a:lnSpc>
                <a:spcPts val="4000"/>
              </a:lnSpc>
              <a:spcBef>
                <a:spcPts val="1000"/>
              </a:spcBef>
              <a:buFontTx/>
              <a:buNone/>
              <a:defRPr sz="3600" b="1" i="0" baseline="0">
                <a:solidFill>
                  <a:srgbClr val="004957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here to edit impact quot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62DE2EA-ABF3-9749-99A1-D40E8C8588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" y="441796"/>
            <a:ext cx="6522721" cy="713494"/>
          </a:xfrm>
          <a:custGeom>
            <a:avLst/>
            <a:gdLst>
              <a:gd name="connsiteX0" fmla="*/ 0 w 4744720"/>
              <a:gd name="connsiteY0" fmla="*/ 0 h 671172"/>
              <a:gd name="connsiteX1" fmla="*/ 4744720 w 4744720"/>
              <a:gd name="connsiteY1" fmla="*/ 0 h 671172"/>
              <a:gd name="connsiteX2" fmla="*/ 4744720 w 4744720"/>
              <a:gd name="connsiteY2" fmla="*/ 671172 h 671172"/>
              <a:gd name="connsiteX3" fmla="*/ 0 w 4744720"/>
              <a:gd name="connsiteY3" fmla="*/ 671172 h 671172"/>
              <a:gd name="connsiteX4" fmla="*/ 0 w 4744720"/>
              <a:gd name="connsiteY4" fmla="*/ 0 h 671172"/>
              <a:gd name="connsiteX0" fmla="*/ 0 w 4978400"/>
              <a:gd name="connsiteY0" fmla="*/ 0 h 671172"/>
              <a:gd name="connsiteX1" fmla="*/ 4978400 w 4978400"/>
              <a:gd name="connsiteY1" fmla="*/ 10160 h 671172"/>
              <a:gd name="connsiteX2" fmla="*/ 4744720 w 4978400"/>
              <a:gd name="connsiteY2" fmla="*/ 671172 h 671172"/>
              <a:gd name="connsiteX3" fmla="*/ 0 w 4978400"/>
              <a:gd name="connsiteY3" fmla="*/ 671172 h 671172"/>
              <a:gd name="connsiteX4" fmla="*/ 0 w 4978400"/>
              <a:gd name="connsiteY4" fmla="*/ 0 h 671172"/>
              <a:gd name="connsiteX0" fmla="*/ 0 w 5008880"/>
              <a:gd name="connsiteY0" fmla="*/ 20320 h 691492"/>
              <a:gd name="connsiteX1" fmla="*/ 5008880 w 5008880"/>
              <a:gd name="connsiteY1" fmla="*/ 0 h 691492"/>
              <a:gd name="connsiteX2" fmla="*/ 4744720 w 5008880"/>
              <a:gd name="connsiteY2" fmla="*/ 691492 h 691492"/>
              <a:gd name="connsiteX3" fmla="*/ 0 w 5008880"/>
              <a:gd name="connsiteY3" fmla="*/ 691492 h 691492"/>
              <a:gd name="connsiteX4" fmla="*/ 0 w 5008880"/>
              <a:gd name="connsiteY4" fmla="*/ 20320 h 691492"/>
              <a:gd name="connsiteX0" fmla="*/ 0 w 5008880"/>
              <a:gd name="connsiteY0" fmla="*/ 0 h 671172"/>
              <a:gd name="connsiteX1" fmla="*/ 5008880 w 5008880"/>
              <a:gd name="connsiteY1" fmla="*/ 10160 h 671172"/>
              <a:gd name="connsiteX2" fmla="*/ 4744720 w 5008880"/>
              <a:gd name="connsiteY2" fmla="*/ 671172 h 671172"/>
              <a:gd name="connsiteX3" fmla="*/ 0 w 5008880"/>
              <a:gd name="connsiteY3" fmla="*/ 671172 h 671172"/>
              <a:gd name="connsiteX4" fmla="*/ 0 w 5008880"/>
              <a:gd name="connsiteY4" fmla="*/ 0 h 671172"/>
              <a:gd name="connsiteX0" fmla="*/ 0 w 5029200"/>
              <a:gd name="connsiteY0" fmla="*/ 10160 h 681332"/>
              <a:gd name="connsiteX1" fmla="*/ 5029200 w 5029200"/>
              <a:gd name="connsiteY1" fmla="*/ 0 h 681332"/>
              <a:gd name="connsiteX2" fmla="*/ 4744720 w 5029200"/>
              <a:gd name="connsiteY2" fmla="*/ 681332 h 681332"/>
              <a:gd name="connsiteX3" fmla="*/ 0 w 5029200"/>
              <a:gd name="connsiteY3" fmla="*/ 681332 h 681332"/>
              <a:gd name="connsiteX4" fmla="*/ 0 w 5029200"/>
              <a:gd name="connsiteY4" fmla="*/ 10160 h 681332"/>
              <a:gd name="connsiteX0" fmla="*/ 0 w 4989871"/>
              <a:gd name="connsiteY0" fmla="*/ 5244 h 676416"/>
              <a:gd name="connsiteX1" fmla="*/ 4989871 w 4989871"/>
              <a:gd name="connsiteY1" fmla="*/ 0 h 676416"/>
              <a:gd name="connsiteX2" fmla="*/ 4744720 w 4989871"/>
              <a:gd name="connsiteY2" fmla="*/ 676416 h 676416"/>
              <a:gd name="connsiteX3" fmla="*/ 0 w 4989871"/>
              <a:gd name="connsiteY3" fmla="*/ 676416 h 676416"/>
              <a:gd name="connsiteX4" fmla="*/ 0 w 4989871"/>
              <a:gd name="connsiteY4" fmla="*/ 5244 h 676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89871" h="676416">
                <a:moveTo>
                  <a:pt x="0" y="5244"/>
                </a:moveTo>
                <a:lnTo>
                  <a:pt x="4989871" y="0"/>
                </a:lnTo>
                <a:lnTo>
                  <a:pt x="4744720" y="676416"/>
                </a:lnTo>
                <a:lnTo>
                  <a:pt x="0" y="676416"/>
                </a:lnTo>
                <a:lnTo>
                  <a:pt x="0" y="5244"/>
                </a:lnTo>
                <a:close/>
              </a:path>
            </a:pathLst>
          </a:custGeom>
          <a:solidFill>
            <a:srgbClr val="00626F"/>
          </a:solidFill>
        </p:spPr>
        <p:txBody>
          <a:bodyPr lIns="900000" tIns="216000" rIns="216000" bIns="216000" anchor="t" anchorCtr="0"/>
          <a:lstStyle>
            <a:lvl1pPr marL="0" indent="0">
              <a:lnSpc>
                <a:spcPts val="2400"/>
              </a:lnSpc>
              <a:spcBef>
                <a:spcPts val="1000"/>
              </a:spcBef>
              <a:buFontTx/>
              <a:buNone/>
              <a:defRPr sz="2000" b="1" i="0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2pPr>
            <a:lvl3pPr marL="9144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3pPr>
            <a:lvl4pPr marL="13716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4pPr>
            <a:lvl5pPr marL="1828800" indent="0">
              <a:buFontTx/>
              <a:buNone/>
              <a:defRPr sz="2000" baseline="0">
                <a:solidFill>
                  <a:srgbClr val="00626F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slide header</a:t>
            </a:r>
          </a:p>
        </p:txBody>
      </p:sp>
    </p:spTree>
    <p:extLst>
      <p:ext uri="{BB962C8B-B14F-4D97-AF65-F5344CB8AC3E}">
        <p14:creationId xmlns:p14="http://schemas.microsoft.com/office/powerpoint/2010/main" val="213719287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5458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ransition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0"/>
          <a:cs typeface="ヒラギノ角ゴ Pro W3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ヒラギノ角ゴ Pro W3" charset="0"/>
          <a:cs typeface="ヒラギノ角ゴ Pro W3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0"/>
          <a:cs typeface="ヒラギノ角ゴ Pro W3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ヒラギノ角ゴ Pro W3" charset="0"/>
          <a:cs typeface="ヒラギノ角ゴ Pro W3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ヒラギノ角ゴ Pro W3" charset="0"/>
          <a:cs typeface="ヒラギノ角ゴ Pro W3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svg"/><Relationship Id="rId9" Type="http://schemas.openxmlformats.org/officeDocument/2006/relationships/image" Target="../media/image23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B331C636-9A27-41ED-8161-F8D90A6217E1}"/>
              </a:ext>
            </a:extLst>
          </p:cNvPr>
          <p:cNvSpPr txBox="1">
            <a:spLocks/>
          </p:cNvSpPr>
          <p:nvPr/>
        </p:nvSpPr>
        <p:spPr>
          <a:xfrm>
            <a:off x="0" y="3429000"/>
            <a:ext cx="12192000" cy="116963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44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4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44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4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pt-BR" sz="44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Verdana"/>
              <a:sym typeface="Verdana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8121707F-19CD-4420-A243-643F47C44B70}"/>
              </a:ext>
            </a:extLst>
          </p:cNvPr>
          <p:cNvSpPr txBox="1"/>
          <p:nvPr/>
        </p:nvSpPr>
        <p:spPr>
          <a:xfrm>
            <a:off x="714461" y="5903893"/>
            <a:ext cx="1036040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tembro de 2021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1FFF4BA-42FD-42A3-99DF-B4BC22013B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6889" y="117082"/>
            <a:ext cx="4006978" cy="1956499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44FE170E-9F18-491A-A7BB-03536DEB8AF3}"/>
              </a:ext>
            </a:extLst>
          </p:cNvPr>
          <p:cNvSpPr txBox="1"/>
          <p:nvPr/>
        </p:nvSpPr>
        <p:spPr>
          <a:xfrm>
            <a:off x="1956236" y="5301423"/>
            <a:ext cx="85567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/>
              <a:t>Comissão Temática de Políticas Públicas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92128D2F-4ADA-4BCA-8104-A248445B65D8}"/>
              </a:ext>
            </a:extLst>
          </p:cNvPr>
          <p:cNvSpPr txBox="1"/>
          <p:nvPr/>
        </p:nvSpPr>
        <p:spPr>
          <a:xfrm>
            <a:off x="2913077" y="2033713"/>
            <a:ext cx="609460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 b="1" i="0" dirty="0">
                <a:effectLst/>
              </a:rPr>
              <a:t>403ª reunião Plenária</a:t>
            </a:r>
            <a:endParaRPr lang="pt-BR" sz="2400" b="1" dirty="0"/>
          </a:p>
        </p:txBody>
      </p:sp>
    </p:spTree>
    <p:extLst>
      <p:ext uri="{BB962C8B-B14F-4D97-AF65-F5344CB8AC3E}">
        <p14:creationId xmlns:p14="http://schemas.microsoft.com/office/powerpoint/2010/main" val="21720762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52BEC45C-4C41-40C9-8028-E3EC6FA571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3" y="742825"/>
            <a:ext cx="5684672" cy="4434639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79452DB6-EB7C-409E-B0EB-1E0E993DB6D3}"/>
              </a:ext>
            </a:extLst>
          </p:cNvPr>
          <p:cNvSpPr txBox="1"/>
          <p:nvPr/>
        </p:nvSpPr>
        <p:spPr>
          <a:xfrm>
            <a:off x="5889073" y="742825"/>
            <a:ext cx="6109716" cy="5909310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b="1" dirty="0">
                <a:solidFill>
                  <a:srgbClr val="FF0000"/>
                </a:solidFill>
              </a:rPr>
              <a:t>Competitividad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Oportunidade de desenvolvimento endógeno (produtos e processos produtivos) e captação de investimentos externos: Oportunidade para que São Paulo seja produtor de tecnologias do baixo carbono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Ampliação de empregos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Atenção aos Polos/cadeias já existentes e que devem ser potencializadas.</a:t>
            </a:r>
          </a:p>
          <a:p>
            <a:pPr marL="342900" indent="-342900">
              <a:buAutoNum type="arabicPeriod" startAt="2"/>
            </a:pPr>
            <a:r>
              <a:rPr lang="pt-BR" b="1" dirty="0">
                <a:solidFill>
                  <a:srgbClr val="FF0000"/>
                </a:solidFill>
              </a:rPr>
              <a:t>Ampliar a oferta: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Orientar a revisão do Plano Estadual de Energia para que ele garanta a diversificação da oferta com novas fontes (solar/fotovoltaica, resíduos, biomassa e nuclear); </a:t>
            </a:r>
            <a:r>
              <a:rPr lang="pt-BR" dirty="0"/>
              <a:t>[RESÍDUOS E NUCELAR – DIVERGÊNCIA]</a:t>
            </a:r>
            <a:endParaRPr lang="pt-BR" dirty="0">
              <a:solidFill>
                <a:srgbClr val="FF0000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Estímulo ao planejamento urbano com eficiência energética e atenção às oportunidades nas  áreas rurais;</a:t>
            </a:r>
          </a:p>
          <a:p>
            <a:pPr marL="342900" indent="-342900">
              <a:buAutoNum type="arabicPeriod" startAt="2"/>
            </a:pPr>
            <a:r>
              <a:rPr lang="pt-BR" b="1" dirty="0">
                <a:solidFill>
                  <a:srgbClr val="FF0000"/>
                </a:solidFill>
              </a:rPr>
              <a:t>Inclusão Social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HIS com energias renováveis de modo sustentável ao longo do tempo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Ampliação da oferta com foco nas rendas mais baixas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Geração de emprego e renda;</a:t>
            </a:r>
          </a:p>
        </p:txBody>
      </p:sp>
    </p:spTree>
    <p:extLst>
      <p:ext uri="{BB962C8B-B14F-4D97-AF65-F5344CB8AC3E}">
        <p14:creationId xmlns:p14="http://schemas.microsoft.com/office/powerpoint/2010/main" val="32300814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047656D5-A7F5-4A50-8513-09EA7D32BB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01304"/>
            <a:ext cx="5293453" cy="4389829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90286AC8-AEE4-4DDA-A0E1-1076B661BA0A}"/>
              </a:ext>
            </a:extLst>
          </p:cNvPr>
          <p:cNvSpPr txBox="1"/>
          <p:nvPr/>
        </p:nvSpPr>
        <p:spPr>
          <a:xfrm>
            <a:off x="5436066" y="628135"/>
            <a:ext cx="6602137" cy="5909310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b="1" dirty="0">
                <a:solidFill>
                  <a:srgbClr val="FF0000"/>
                </a:solidFill>
              </a:rPr>
              <a:t>Descarbonização: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Não fazer da eletrificação a desvalorização dos biocombustíveis;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Etanol (Competitividade e produção): atenção à política de preço e demanda por área plantada para suprir a descarbonização </a:t>
            </a:r>
            <a:r>
              <a:rPr lang="pt-BR" dirty="0"/>
              <a:t>[POSSÍVEL CONFLITO - Eixo 4]</a:t>
            </a:r>
            <a:r>
              <a:rPr lang="pt-BR" dirty="0">
                <a:solidFill>
                  <a:srgbClr val="FF0000"/>
                </a:solidFill>
              </a:rPr>
              <a:t>;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Ampliar no texto o alcance da descarbonização: motos e caminhões;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Por um marco regulatório “pró mobilidade com combustíveis renováveis”;</a:t>
            </a:r>
          </a:p>
          <a:p>
            <a:pPr marL="342900" indent="-342900">
              <a:buAutoNum type="arabicPeriod" startAt="2"/>
            </a:pPr>
            <a:r>
              <a:rPr lang="pt-BR" b="1" dirty="0">
                <a:solidFill>
                  <a:srgbClr val="FF0000"/>
                </a:solidFill>
              </a:rPr>
              <a:t>Mobilidade: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Renovação de frota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Monitoramento: Inspeção Veicular Metropolitana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Ampliação da mobilidade descarbonizada: Trens, ônibus (regionais e locais), metrôs, carros (energia renovável e compartilhamento), bicicletas e pedestres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Apoio ao teletrabalho (total / híbrido);</a:t>
            </a:r>
          </a:p>
          <a:p>
            <a:pPr marL="342900" indent="-342900">
              <a:buAutoNum type="arabicPeriod" startAt="3"/>
            </a:pPr>
            <a:r>
              <a:rPr lang="pt-BR" b="1" dirty="0">
                <a:solidFill>
                  <a:srgbClr val="FF0000"/>
                </a:solidFill>
              </a:rPr>
              <a:t>GEE e Qualidade do Ar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Regulamentação de GEE </a:t>
            </a:r>
            <a:r>
              <a:rPr lang="pt-BR" dirty="0"/>
              <a:t>[DIVERGÊNCIA]</a:t>
            </a:r>
            <a:r>
              <a:rPr lang="pt-BR" dirty="0">
                <a:solidFill>
                  <a:srgbClr val="FF0000"/>
                </a:solidFill>
              </a:rPr>
              <a:t>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Qualidade do ar e GEE: Atenção para que a descarbonização não tenha efeitos negativos sobre a qualidade do ar.</a:t>
            </a:r>
          </a:p>
        </p:txBody>
      </p:sp>
    </p:spTree>
    <p:extLst>
      <p:ext uri="{BB962C8B-B14F-4D97-AF65-F5344CB8AC3E}">
        <p14:creationId xmlns:p14="http://schemas.microsoft.com/office/powerpoint/2010/main" val="32180435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047656D5-A7F5-4A50-8513-09EA7D32BB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01304"/>
            <a:ext cx="5293453" cy="4389829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90286AC8-AEE4-4DDA-A0E1-1076B661BA0A}"/>
              </a:ext>
            </a:extLst>
          </p:cNvPr>
          <p:cNvSpPr txBox="1"/>
          <p:nvPr/>
        </p:nvSpPr>
        <p:spPr>
          <a:xfrm>
            <a:off x="5427677" y="1374755"/>
            <a:ext cx="6602137" cy="646331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 startAt="4"/>
            </a:pPr>
            <a:r>
              <a:rPr lang="pt-BR" b="1" dirty="0">
                <a:solidFill>
                  <a:srgbClr val="FF0000"/>
                </a:solidFill>
              </a:rPr>
              <a:t>Metas Setoriais:</a:t>
            </a:r>
          </a:p>
          <a:p>
            <a:r>
              <a:rPr lang="pt-BR" dirty="0">
                <a:solidFill>
                  <a:srgbClr val="FF0000"/>
                </a:solidFill>
              </a:rPr>
              <a:t>Metas acordadas, com base técnica e factíveis;  </a:t>
            </a:r>
          </a:p>
        </p:txBody>
      </p:sp>
    </p:spTree>
    <p:extLst>
      <p:ext uri="{BB962C8B-B14F-4D97-AF65-F5344CB8AC3E}">
        <p14:creationId xmlns:p14="http://schemas.microsoft.com/office/powerpoint/2010/main" val="27393479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90286AC8-AEE4-4DDA-A0E1-1076B661BA0A}"/>
              </a:ext>
            </a:extLst>
          </p:cNvPr>
          <p:cNvSpPr txBox="1"/>
          <p:nvPr/>
        </p:nvSpPr>
        <p:spPr>
          <a:xfrm>
            <a:off x="5335399" y="832399"/>
            <a:ext cx="6744748" cy="5078313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FF0000"/>
                </a:solidFill>
              </a:rPr>
              <a:t>MITIGAÇÃO: </a:t>
            </a:r>
          </a:p>
          <a:p>
            <a:pPr marL="342900" indent="-342900">
              <a:buFont typeface="+mj-lt"/>
              <a:buAutoNum type="arabicPeriod"/>
            </a:pPr>
            <a:r>
              <a:rPr lang="pt-BR" b="1" dirty="0">
                <a:solidFill>
                  <a:srgbClr val="FF0000"/>
                </a:solidFill>
              </a:rPr>
              <a:t>Aumento de área vegetada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A meta deve deixar claro que está baseada na soma entre a “área de obrigação legal (PRA)” e a “área incentivada”;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Acompanhamento com transparência sobre a evolução das metas de áreas vegetadas; </a:t>
            </a:r>
          </a:p>
          <a:p>
            <a:r>
              <a:rPr lang="pt-BR" b="1" dirty="0">
                <a:solidFill>
                  <a:srgbClr val="FF0000"/>
                </a:solidFill>
              </a:rPr>
              <a:t>2.   Agricultura para o Baixo Carbono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Reforçar ações existentes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Apoio aos municípios;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Produção com recuperação: adicionar áreas verdes com ganhos econômicos;</a:t>
            </a:r>
          </a:p>
          <a:p>
            <a:r>
              <a:rPr lang="pt-BR" b="1" dirty="0">
                <a:solidFill>
                  <a:srgbClr val="FF0000"/>
                </a:solidFill>
              </a:rPr>
              <a:t>3.   Unidades de Conservação e Biodiversidade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Oportunidade de incentivos para incremento de UCs com áreas públicas e privadas (p.ex.: RPPN, </a:t>
            </a:r>
            <a:r>
              <a:rPr lang="pt-BR" dirty="0" err="1">
                <a:solidFill>
                  <a:srgbClr val="FF0000"/>
                </a:solidFill>
              </a:rPr>
              <a:t>MoNa</a:t>
            </a:r>
            <a:r>
              <a:rPr lang="pt-BR" dirty="0">
                <a:solidFill>
                  <a:srgbClr val="FF0000"/>
                </a:solidFill>
              </a:rPr>
              <a:t>, APA); </a:t>
            </a:r>
            <a:r>
              <a:rPr lang="pt-BR" dirty="0"/>
              <a:t>[PENSAR NA ADICIONALIDADE]</a:t>
            </a:r>
            <a:r>
              <a:rPr lang="pt-BR" dirty="0">
                <a:solidFill>
                  <a:srgbClr val="FF0000"/>
                </a:solidFill>
              </a:rPr>
              <a:t>;</a:t>
            </a:r>
          </a:p>
          <a:p>
            <a:r>
              <a:rPr lang="pt-BR" b="1" dirty="0">
                <a:solidFill>
                  <a:srgbClr val="FF0000"/>
                </a:solidFill>
              </a:rPr>
              <a:t>4.   Proteção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Fiscalização com participação municipal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Papel dos municípios sobre a relação “rural” x “urbano”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F09F949C-B17C-439C-A1F6-CDFEC260AA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32399"/>
            <a:ext cx="5121810" cy="463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2709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5CDA337F-9877-4C94-9BD1-BD128797B2EF}"/>
              </a:ext>
            </a:extLst>
          </p:cNvPr>
          <p:cNvSpPr txBox="1"/>
          <p:nvPr/>
        </p:nvSpPr>
        <p:spPr>
          <a:xfrm>
            <a:off x="4790113" y="800733"/>
            <a:ext cx="7290034" cy="4524315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pt-BR" b="1" dirty="0">
                <a:solidFill>
                  <a:srgbClr val="FF0000"/>
                </a:solidFill>
              </a:rPr>
              <a:t>Estado: normas, planejamento e finanças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Estudo sobre como “descarbonizar” o PPA/Orçamento do Estado (Compras Públicas Sustentáveis); Contribuir para que os municípios usufruam dessa melhoria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Rever o papel dos Fundo Públicos para que financiem ações convergentes com o PAC 2050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Avaliação dos Incentivos tributários e fiscais existentes e futuros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Marco regulatório pró descarbonização: combater investimento intensivos em carbono(GEE) e simplificar/potencializar  os investimentos de descarbonização;</a:t>
            </a:r>
          </a:p>
          <a:p>
            <a:r>
              <a:rPr lang="pt-BR" b="1" dirty="0">
                <a:solidFill>
                  <a:srgbClr val="FF0000"/>
                </a:solidFill>
              </a:rPr>
              <a:t>2</a:t>
            </a:r>
            <a:r>
              <a:rPr lang="pt-BR" dirty="0">
                <a:solidFill>
                  <a:srgbClr val="FF0000"/>
                </a:solidFill>
              </a:rPr>
              <a:t>.   </a:t>
            </a:r>
            <a:r>
              <a:rPr lang="pt-BR" b="1" dirty="0">
                <a:solidFill>
                  <a:srgbClr val="FF0000"/>
                </a:solidFill>
              </a:rPr>
              <a:t>Instituição de Mercado de Carbono Regional/Estadual: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instituir de forma acordada, clara e transparente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Voluntário / Obrigatório.</a:t>
            </a:r>
          </a:p>
          <a:p>
            <a:r>
              <a:rPr lang="pt-BR" b="1" dirty="0">
                <a:solidFill>
                  <a:srgbClr val="FF0000"/>
                </a:solidFill>
              </a:rPr>
              <a:t>3.    Pesquisa e Inovação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Linhas de pesquisa e financiamento para inovações em mitigação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Startups e novos negócios disruptivos;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F0D8434D-89FA-4D4E-B3DF-727417061A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338" y="765288"/>
            <a:ext cx="4161351" cy="46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5325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 /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esilience</a:t>
            </a:r>
            <a:endParaRPr kumimoji="0" lang="pt-BR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Verdana"/>
              <a:sym typeface="Verdana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90286AC8-AEE4-4DDA-A0E1-1076B661BA0A}"/>
              </a:ext>
            </a:extLst>
          </p:cNvPr>
          <p:cNvSpPr txBox="1"/>
          <p:nvPr/>
        </p:nvSpPr>
        <p:spPr>
          <a:xfrm>
            <a:off x="4467224" y="899511"/>
            <a:ext cx="7445143" cy="5078313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u="sng" dirty="0">
                <a:solidFill>
                  <a:schemeClr val="accent1"/>
                </a:solidFill>
              </a:rPr>
              <a:t>Plano de Adaptação/”</a:t>
            </a:r>
            <a:r>
              <a:rPr lang="pt-BR" b="1" i="1" u="sng" dirty="0" err="1">
                <a:solidFill>
                  <a:schemeClr val="accent1"/>
                </a:solidFill>
              </a:rPr>
              <a:t>Race</a:t>
            </a:r>
            <a:r>
              <a:rPr lang="pt-BR" b="1" i="1" u="sng" dirty="0">
                <a:solidFill>
                  <a:schemeClr val="accent1"/>
                </a:solidFill>
              </a:rPr>
              <a:t> </a:t>
            </a:r>
            <a:r>
              <a:rPr lang="pt-BR" b="1" i="1" u="sng" dirty="0" err="1">
                <a:solidFill>
                  <a:schemeClr val="accent1"/>
                </a:solidFill>
              </a:rPr>
              <a:t>to</a:t>
            </a:r>
            <a:r>
              <a:rPr lang="pt-BR" b="1" i="1" u="sng" dirty="0">
                <a:solidFill>
                  <a:schemeClr val="accent1"/>
                </a:solidFill>
              </a:rPr>
              <a:t> </a:t>
            </a:r>
            <a:r>
              <a:rPr lang="pt-BR" b="1" i="1" u="sng" dirty="0" err="1">
                <a:solidFill>
                  <a:schemeClr val="accent1"/>
                </a:solidFill>
              </a:rPr>
              <a:t>Resilience</a:t>
            </a:r>
            <a:r>
              <a:rPr lang="pt-BR" b="1" u="sng" dirty="0">
                <a:solidFill>
                  <a:schemeClr val="accent1"/>
                </a:solidFill>
              </a:rPr>
              <a:t>”</a:t>
            </a:r>
          </a:p>
          <a:p>
            <a:pPr algn="ctr"/>
            <a:r>
              <a:rPr lang="pt-BR" b="1" u="sng" dirty="0">
                <a:solidFill>
                  <a:schemeClr val="accent1"/>
                </a:solidFill>
              </a:rPr>
              <a:t>ADAPTAÇÃO E RESILIÊNCIA: </a:t>
            </a:r>
          </a:p>
          <a:p>
            <a:endParaRPr lang="pt-BR" b="1" dirty="0">
              <a:solidFill>
                <a:schemeClr val="accent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dirty="0">
                <a:solidFill>
                  <a:schemeClr val="accent1"/>
                </a:solidFill>
              </a:rPr>
              <a:t>Busca por ações com sinergia entre “mitigar” e “adaptar”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dirty="0">
              <a:solidFill>
                <a:schemeClr val="accent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dirty="0">
                <a:solidFill>
                  <a:schemeClr val="accent1"/>
                </a:solidFill>
              </a:rPr>
              <a:t>Soluções baseadas na Natureza como estratégia transversal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dirty="0">
              <a:solidFill>
                <a:schemeClr val="accent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dirty="0">
                <a:solidFill>
                  <a:schemeClr val="accent1"/>
                </a:solidFill>
              </a:rPr>
              <a:t>Conectividade: biodiversidade, água e baixo carbono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dirty="0">
              <a:solidFill>
                <a:schemeClr val="accent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dirty="0">
                <a:solidFill>
                  <a:schemeClr val="accent1"/>
                </a:solidFill>
              </a:rPr>
              <a:t>Segurança hídrica: regional e local (com metas); saneamento básico (rede e descentralizado); </a:t>
            </a:r>
          </a:p>
          <a:p>
            <a:endParaRPr lang="pt-BR" dirty="0">
              <a:solidFill>
                <a:schemeClr val="accent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dirty="0">
                <a:solidFill>
                  <a:schemeClr val="accent1"/>
                </a:solidFill>
              </a:rPr>
              <a:t>Desastres naturais e MCs: Inundações, deslizamentos, estiagens, incêndios e temperatura;</a:t>
            </a:r>
          </a:p>
          <a:p>
            <a:endParaRPr lang="pt-BR" dirty="0">
              <a:solidFill>
                <a:schemeClr val="accent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dirty="0">
                <a:solidFill>
                  <a:schemeClr val="accent1"/>
                </a:solidFill>
              </a:rPr>
              <a:t>Migração regional: pressão sobre as cidades médias e pequenas; espraiamento urbano e capacidade local para lidar com essa “nova” realidade;</a:t>
            </a:r>
            <a:endParaRPr lang="pt-BR" b="1" dirty="0">
              <a:solidFill>
                <a:schemeClr val="accent1"/>
              </a:solidFill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22F21303-445F-40B8-A0EB-16A44B96A4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97150"/>
            <a:ext cx="4467225" cy="538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9602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6C292F64-420F-4473-A1B8-72C766E2F5A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58592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algn="ctr"/>
            <a:r>
              <a:rPr lang="pt-BR" sz="4000" dirty="0">
                <a:latin typeface="+mj-lt"/>
              </a:rPr>
              <a:t>CONSEMA - Comissão de Políticas Públicas (CTPP)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8E6337C2-AD47-41BE-B826-05E99D2FA4E0}"/>
              </a:ext>
            </a:extLst>
          </p:cNvPr>
          <p:cNvSpPr txBox="1"/>
          <p:nvPr/>
        </p:nvSpPr>
        <p:spPr>
          <a:xfrm>
            <a:off x="2346121" y="3044279"/>
            <a:ext cx="6781101" cy="769441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chemeClr val="accent1"/>
                </a:solidFill>
              </a:rPr>
              <a:t>ANEXOS</a:t>
            </a:r>
          </a:p>
        </p:txBody>
      </p:sp>
    </p:spTree>
    <p:extLst>
      <p:ext uri="{BB962C8B-B14F-4D97-AF65-F5344CB8AC3E}">
        <p14:creationId xmlns:p14="http://schemas.microsoft.com/office/powerpoint/2010/main" val="16427444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6337B565-2C08-42BD-A100-B5D50166A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21213"/>
            <a:ext cx="3936733" cy="3480072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4AD49DE8-6C0A-4C22-81B4-67DC8AC39F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3288" y="664144"/>
            <a:ext cx="4645344" cy="3176337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5672AFFF-9CB1-447E-B789-0865A0B26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5230" y="4001285"/>
            <a:ext cx="4645343" cy="2811756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9F450F3F-D68A-45A6-9AE7-CF5EC4B7A329}"/>
              </a:ext>
            </a:extLst>
          </p:cNvPr>
          <p:cNvSpPr txBox="1"/>
          <p:nvPr/>
        </p:nvSpPr>
        <p:spPr>
          <a:xfrm>
            <a:off x="436228" y="4001285"/>
            <a:ext cx="25334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COALIZÃO RESPIR</a:t>
            </a:r>
            <a:r>
              <a:rPr lang="pt-BR" b="1" dirty="0"/>
              <a:t>AR</a:t>
            </a:r>
            <a:endParaRPr lang="pt-BR" dirty="0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92B18600-0DE2-4356-BDE8-4ADF23656386}"/>
              </a:ext>
            </a:extLst>
          </p:cNvPr>
          <p:cNvSpPr txBox="1"/>
          <p:nvPr/>
        </p:nvSpPr>
        <p:spPr>
          <a:xfrm>
            <a:off x="4464341" y="3376409"/>
            <a:ext cx="25334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FIESP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21F029F-4442-4290-9B8D-EDABEF6F1ED8}"/>
              </a:ext>
            </a:extLst>
          </p:cNvPr>
          <p:cNvSpPr txBox="1"/>
          <p:nvPr/>
        </p:nvSpPr>
        <p:spPr>
          <a:xfrm>
            <a:off x="9130018" y="3930035"/>
            <a:ext cx="25334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Iniciativa Verde</a:t>
            </a:r>
          </a:p>
        </p:txBody>
      </p:sp>
    </p:spTree>
    <p:extLst>
      <p:ext uri="{BB962C8B-B14F-4D97-AF65-F5344CB8AC3E}">
        <p14:creationId xmlns:p14="http://schemas.microsoft.com/office/powerpoint/2010/main" val="36396581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3B0C0F3-91B4-4B85-B601-D3B4AC705A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651" y="628428"/>
            <a:ext cx="3540505" cy="3494449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F8DEED94-50B5-4C18-A657-F645EB81B3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8015" y="497150"/>
            <a:ext cx="3977153" cy="3873514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6297EDD0-24CA-42B9-BF61-56B3A1E48D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9295" y="3607267"/>
            <a:ext cx="5128936" cy="3069491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60434DEF-6C17-46FF-916C-B9BC7DA980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7935" y="3152287"/>
            <a:ext cx="3300443" cy="3431054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B7C04D4B-AC91-4A6D-A366-75AA101D611F}"/>
              </a:ext>
            </a:extLst>
          </p:cNvPr>
          <p:cNvSpPr txBox="1"/>
          <p:nvPr/>
        </p:nvSpPr>
        <p:spPr>
          <a:xfrm>
            <a:off x="6253771" y="5765124"/>
            <a:ext cx="194416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ANAMA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C297EBF6-2B4C-4367-8BCF-9CCED8988F77}"/>
              </a:ext>
            </a:extLst>
          </p:cNvPr>
          <p:cNvSpPr txBox="1"/>
          <p:nvPr/>
        </p:nvSpPr>
        <p:spPr>
          <a:xfrm>
            <a:off x="2799281" y="5949790"/>
            <a:ext cx="2482408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dirty="0" err="1"/>
              <a:t>Ecophalt</a:t>
            </a:r>
            <a:r>
              <a:rPr lang="pt-BR" dirty="0"/>
              <a:t> + </a:t>
            </a:r>
            <a:r>
              <a:rPr lang="pt-BR" dirty="0" err="1"/>
              <a:t>Concidadania</a:t>
            </a:r>
            <a:endParaRPr lang="pt-BR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009F9BD3-7D6F-4C85-849F-3D5C974FE8A8}"/>
              </a:ext>
            </a:extLst>
          </p:cNvPr>
          <p:cNvSpPr txBox="1"/>
          <p:nvPr/>
        </p:nvSpPr>
        <p:spPr>
          <a:xfrm>
            <a:off x="3840810" y="994300"/>
            <a:ext cx="194416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CAU</a:t>
            </a:r>
          </a:p>
        </p:txBody>
      </p:sp>
    </p:spTree>
    <p:extLst>
      <p:ext uri="{BB962C8B-B14F-4D97-AF65-F5344CB8AC3E}">
        <p14:creationId xmlns:p14="http://schemas.microsoft.com/office/powerpoint/2010/main" val="15428507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6C292F64-420F-4473-A1B8-72C766E2F5A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58592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algn="ctr"/>
            <a:r>
              <a:rPr lang="pt-BR" sz="4000" dirty="0">
                <a:latin typeface="+mj-lt"/>
              </a:rPr>
              <a:t>CONSEMA - Comissão de Políticas Públicas (CTPP)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8E6337C2-AD47-41BE-B826-05E99D2FA4E0}"/>
              </a:ext>
            </a:extLst>
          </p:cNvPr>
          <p:cNvSpPr txBox="1"/>
          <p:nvPr/>
        </p:nvSpPr>
        <p:spPr>
          <a:xfrm>
            <a:off x="2664903" y="3044279"/>
            <a:ext cx="6781101" cy="1107996"/>
          </a:xfrm>
          <a:prstGeom prst="rect">
            <a:avLst/>
          </a:prstGeom>
          <a:noFill/>
          <a:ln w="28575">
            <a:noFill/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6600" b="1" dirty="0">
                <a:solidFill>
                  <a:schemeClr val="accent1"/>
                </a:solidFill>
              </a:rPr>
              <a:t>Lembrando</a:t>
            </a:r>
            <a:r>
              <a:rPr lang="pt-BR" sz="4400" b="1" dirty="0">
                <a:solidFill>
                  <a:schemeClr val="accent1"/>
                </a:solidFill>
              </a:rPr>
              <a:t>....</a:t>
            </a:r>
          </a:p>
        </p:txBody>
      </p:sp>
    </p:spTree>
    <p:extLst>
      <p:ext uri="{BB962C8B-B14F-4D97-AF65-F5344CB8AC3E}">
        <p14:creationId xmlns:p14="http://schemas.microsoft.com/office/powerpoint/2010/main" val="961841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6C292F64-420F-4473-A1B8-72C766E2F5A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58592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algn="ctr"/>
            <a:r>
              <a:rPr lang="pt-BR" sz="4000" dirty="0">
                <a:latin typeface="+mj-lt"/>
              </a:rPr>
              <a:t>CONSEMA - Comissão de Políticas Públicas (CTPP)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66DEF7D3-784D-4353-8835-EC9A748B85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73" y="983899"/>
            <a:ext cx="12048463" cy="3671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2699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A46323A6-B1D5-4B40-A6FF-D1DEE9FE4F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6413" y="867799"/>
            <a:ext cx="8359174" cy="5500838"/>
          </a:xfrm>
          <a:prstGeom prst="rect">
            <a:avLst/>
          </a:prstGeom>
        </p:spPr>
      </p:pic>
      <p:sp>
        <p:nvSpPr>
          <p:cNvPr id="11" name="Seta: para Baixo 10">
            <a:extLst>
              <a:ext uri="{FF2B5EF4-FFF2-40B4-BE49-F238E27FC236}">
                <a16:creationId xmlns:a16="http://schemas.microsoft.com/office/drawing/2014/main" id="{91BA6D9A-0604-4B41-8057-701B6E1DC807}"/>
              </a:ext>
            </a:extLst>
          </p:cNvPr>
          <p:cNvSpPr/>
          <p:nvPr/>
        </p:nvSpPr>
        <p:spPr>
          <a:xfrm rot="16200000">
            <a:off x="2532708" y="4008934"/>
            <a:ext cx="474908" cy="3892434"/>
          </a:xfrm>
          <a:prstGeom prst="downArrow">
            <a:avLst/>
          </a:prstGeom>
          <a:solidFill>
            <a:srgbClr val="FF000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75181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7BF2F35F-9A4D-419B-A4BD-55823595E5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033" y="876883"/>
            <a:ext cx="9590843" cy="5588393"/>
          </a:xfrm>
          <a:prstGeom prst="rect">
            <a:avLst/>
          </a:prstGeom>
        </p:spPr>
      </p:pic>
      <p:sp>
        <p:nvSpPr>
          <p:cNvPr id="7" name="Elipse 6">
            <a:extLst>
              <a:ext uri="{FF2B5EF4-FFF2-40B4-BE49-F238E27FC236}">
                <a16:creationId xmlns:a16="http://schemas.microsoft.com/office/drawing/2014/main" id="{067A3DE2-0D0F-408F-A377-B704F470C945}"/>
              </a:ext>
            </a:extLst>
          </p:cNvPr>
          <p:cNvSpPr/>
          <p:nvPr/>
        </p:nvSpPr>
        <p:spPr>
          <a:xfrm>
            <a:off x="7059996" y="3805560"/>
            <a:ext cx="279135" cy="3693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752A151-0267-436B-92A4-B1E2277948CB}"/>
              </a:ext>
            </a:extLst>
          </p:cNvPr>
          <p:cNvSpPr txBox="1"/>
          <p:nvPr/>
        </p:nvSpPr>
        <p:spPr>
          <a:xfrm>
            <a:off x="7051607" y="3772004"/>
            <a:ext cx="3561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b="1" dirty="0">
                <a:solidFill>
                  <a:srgbClr val="FF0000"/>
                </a:solidFill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1B35ADBB-AFB0-430D-AB4D-9275A5AC5ACD}"/>
              </a:ext>
            </a:extLst>
          </p:cNvPr>
          <p:cNvSpPr txBox="1"/>
          <p:nvPr/>
        </p:nvSpPr>
        <p:spPr>
          <a:xfrm>
            <a:off x="7026440" y="4341999"/>
            <a:ext cx="3561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b="1" dirty="0">
                <a:solidFill>
                  <a:srgbClr val="FF0000"/>
                </a:solidFill>
                <a:latin typeface="Georgia" panose="02040502050405020303" pitchFamily="18" charset="0"/>
              </a:rPr>
              <a:t>2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893B4469-6903-4913-A2D5-E0C13EC5198E}"/>
              </a:ext>
            </a:extLst>
          </p:cNvPr>
          <p:cNvSpPr/>
          <p:nvPr/>
        </p:nvSpPr>
        <p:spPr>
          <a:xfrm>
            <a:off x="7048073" y="4364124"/>
            <a:ext cx="279135" cy="3693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A90BA3CB-FFEB-4547-A4A8-CAAA745B717C}"/>
              </a:ext>
            </a:extLst>
          </p:cNvPr>
          <p:cNvCxnSpPr/>
          <p:nvPr/>
        </p:nvCxnSpPr>
        <p:spPr>
          <a:xfrm>
            <a:off x="3869356" y="4591251"/>
            <a:ext cx="3070459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eta: para Baixo 14">
            <a:extLst>
              <a:ext uri="{FF2B5EF4-FFF2-40B4-BE49-F238E27FC236}">
                <a16:creationId xmlns:a16="http://schemas.microsoft.com/office/drawing/2014/main" id="{A9C55B7B-9940-4939-B1F9-40AF0E42AD5B}"/>
              </a:ext>
            </a:extLst>
          </p:cNvPr>
          <p:cNvSpPr/>
          <p:nvPr/>
        </p:nvSpPr>
        <p:spPr>
          <a:xfrm rot="19257891">
            <a:off x="824503" y="2776604"/>
            <a:ext cx="474908" cy="2242686"/>
          </a:xfrm>
          <a:prstGeom prst="downArrow">
            <a:avLst/>
          </a:prstGeom>
          <a:solidFill>
            <a:srgbClr val="FF000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2AD09894-3581-449E-8955-3E8575D6A9CB}"/>
              </a:ext>
            </a:extLst>
          </p:cNvPr>
          <p:cNvSpPr/>
          <p:nvPr/>
        </p:nvSpPr>
        <p:spPr>
          <a:xfrm>
            <a:off x="1876926" y="4793381"/>
            <a:ext cx="3003082" cy="25025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519356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5104422B-1ADA-4115-BB1D-04F61CA5EB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947" y="747692"/>
            <a:ext cx="9931787" cy="5583905"/>
          </a:xfrm>
          <a:prstGeom prst="rect">
            <a:avLst/>
          </a:prstGeom>
        </p:spPr>
      </p:pic>
      <p:sp>
        <p:nvSpPr>
          <p:cNvPr id="7" name="Elipse 6">
            <a:extLst>
              <a:ext uri="{FF2B5EF4-FFF2-40B4-BE49-F238E27FC236}">
                <a16:creationId xmlns:a16="http://schemas.microsoft.com/office/drawing/2014/main" id="{5E2DDB56-7606-4745-8D42-C7641B8751C4}"/>
              </a:ext>
            </a:extLst>
          </p:cNvPr>
          <p:cNvSpPr/>
          <p:nvPr/>
        </p:nvSpPr>
        <p:spPr>
          <a:xfrm>
            <a:off x="10504516" y="1749992"/>
            <a:ext cx="712272" cy="63733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653B32DB-0F19-4BD6-BB9A-84B3203D2148}"/>
              </a:ext>
            </a:extLst>
          </p:cNvPr>
          <p:cNvSpPr txBox="1"/>
          <p:nvPr/>
        </p:nvSpPr>
        <p:spPr>
          <a:xfrm>
            <a:off x="10645436" y="1679444"/>
            <a:ext cx="8662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FF0000"/>
                </a:solidFill>
                <a:latin typeface="Georgia" panose="02040502050405020303" pitchFamily="18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549514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2CCA6EDF-6713-4A24-B0A3-D9FB5B74EA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016" y="922706"/>
            <a:ext cx="4903769" cy="5285589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4E1C43DD-533C-4906-9C0D-D333192862B0}"/>
              </a:ext>
            </a:extLst>
          </p:cNvPr>
          <p:cNvSpPr txBox="1"/>
          <p:nvPr/>
        </p:nvSpPr>
        <p:spPr>
          <a:xfrm>
            <a:off x="5805941" y="1009716"/>
            <a:ext cx="8662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FF0000"/>
                </a:solidFill>
                <a:latin typeface="Georgia" panose="02040502050405020303" pitchFamily="18" charset="0"/>
              </a:rPr>
              <a:t>2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32AAAD0D-0CA3-4B73-9A7F-4280E1CB9209}"/>
              </a:ext>
            </a:extLst>
          </p:cNvPr>
          <p:cNvSpPr/>
          <p:nvPr/>
        </p:nvSpPr>
        <p:spPr>
          <a:xfrm>
            <a:off x="5714696" y="1152960"/>
            <a:ext cx="712272" cy="56464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9FE12EA4-633A-4869-A38F-87020B57CD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5804" y="837981"/>
            <a:ext cx="3512381" cy="5542049"/>
          </a:xfrm>
          <a:prstGeom prst="rect">
            <a:avLst/>
          </a:prstGeom>
        </p:spPr>
      </p:pic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CACDF8FE-27BB-4469-9527-0D0838C69011}"/>
              </a:ext>
            </a:extLst>
          </p:cNvPr>
          <p:cNvCxnSpPr/>
          <p:nvPr/>
        </p:nvCxnSpPr>
        <p:spPr>
          <a:xfrm>
            <a:off x="5658183" y="4726004"/>
            <a:ext cx="1973179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92692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>
            <a:extLst>
              <a:ext uri="{FF2B5EF4-FFF2-40B4-BE49-F238E27FC236}">
                <a16:creationId xmlns:a16="http://schemas.microsoft.com/office/drawing/2014/main" id="{DBEB4EB2-948F-4A0C-81EC-75529ABF55C6}"/>
              </a:ext>
            </a:extLst>
          </p:cNvPr>
          <p:cNvSpPr txBox="1"/>
          <p:nvPr/>
        </p:nvSpPr>
        <p:spPr>
          <a:xfrm>
            <a:off x="0" y="513113"/>
            <a:ext cx="12192000" cy="69249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creto Estadual nº 65.881,  20/07/2021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1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põe sobre a adesão do Estado de São Paulo às campanhas “</a:t>
            </a:r>
            <a:r>
              <a:rPr kumimoji="0" lang="pt-BR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ce</a:t>
            </a:r>
            <a:r>
              <a:rPr kumimoji="0" lang="pt-BR" sz="1800" b="0" i="1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</a:t>
            </a:r>
            <a:r>
              <a:rPr kumimoji="0" lang="pt-BR" sz="1800" b="0" i="1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Zero” e “</a:t>
            </a:r>
            <a:r>
              <a:rPr kumimoji="0" lang="pt-BR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ce</a:t>
            </a:r>
            <a:r>
              <a:rPr kumimoji="0" lang="pt-BR" sz="1800" b="0" i="1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</a:t>
            </a:r>
            <a:r>
              <a:rPr kumimoji="0" lang="pt-BR" sz="1800" b="0" i="1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ilience</a:t>
            </a:r>
            <a:r>
              <a:rPr kumimoji="0" lang="pt-BR" sz="1800" b="0" i="1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”, no âmbito da Convenção-Quadro das Nações Unidas sobre Mudança do Clima, e dá providências correlatas</a:t>
            </a:r>
            <a:r>
              <a:rPr kumimoji="0" lang="pt-BR" sz="1800" b="0" i="1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tigo 1º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Este decreto dispõe sobre a adesão do Estado de São Paulo às campanhas "</a:t>
            </a: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ce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Zer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" e "</a:t>
            </a: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ce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ilience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", no âmbito da Convenção-Quadro das Nações Unidas sobre Mudança do Clima, visando à redução de emissões de gases de efeito estufa e à resiliência climática, consoante detalhamento nos sítios eletrônicos https://unfccc.int/climate- -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on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ce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zero-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mpaign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 https://racetozero.unfccc.int/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ce-to-resilience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tigo 2º 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Para os fins deste decreto, serão implementadas, sob a coordenação da Secretaria de Infraestrutura e Meio Ambiente, as seguintes ações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ano de Ação Climática 2050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em até 12 (doze) meses, que deverá contemplar metas intermediárias de 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dução de emissões de gases de efeito estufa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finidos pelo Protocolo de Quioto para os anos de 2030 e 2040 e a neutralização de emissões líquidas até 2050;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Plano Estadual de Energia a que alude o artigo 39 do Decreto nº 55.947, de 24 de junho de 2010, em até 12 (doze) meses;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</a:t>
            </a: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ano de Adaptação Climática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em até 18 (dezoito) meses, que deverá contemplar análise de </a:t>
            </a: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scos e vulnerabilidade climática 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a o Estado de São Paulo;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Zoneamento Ecológico-Econômico - ZEE a que aludem os artigos 4º, inciso XL, da Lei n.º 13.798, de 9 de novembro de 2009, e 23 do Decreto nº 55.947, de 24 de junho de 2010, e o Decreto n.º 64.526, de 15 de outubro de 2019, em até 6 (seis) meses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II - instituição da Rede ZEE-SP, plataforma digital de consolidação de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odados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ara gestão territorial, em até 6 (seis) mes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ágrafo único 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A Secretaria de Infraestrutura e Meio Ambiente divulgará periodicamente os resultados do acompanhamento do Plano de Ação Climática 2050.;</a:t>
            </a:r>
            <a:endParaRPr kumimoji="0" lang="pt-BR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A57C0BE9-1B11-44B6-9B3C-BADE1B9ADE46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/>
                <a:cs typeface="Calibri" panose="020F0502020204030204" pitchFamily="34" charset="0"/>
                <a:sym typeface="Verdana"/>
              </a:rPr>
              <a:t>Mudanças Climáticas – Decreto Estadual nº 65.881/2021</a:t>
            </a:r>
            <a:endParaRPr kumimoji="0" lang="pt-BR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Verdana"/>
              <a:cs typeface="Calibri" panose="020F0502020204030204" pitchFamily="34" charset="0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99190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89CD491-7D19-4460-9A3B-1258AE8DF0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489CD491-7D19-4460-9A3B-1258AE8DF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aixaDeTexto 12">
            <a:extLst>
              <a:ext uri="{FF2B5EF4-FFF2-40B4-BE49-F238E27FC236}">
                <a16:creationId xmlns:a16="http://schemas.microsoft.com/office/drawing/2014/main" id="{7258F8B7-5E30-4684-B3A5-07FFF429DAAC}"/>
              </a:ext>
            </a:extLst>
          </p:cNvPr>
          <p:cNvSpPr txBox="1"/>
          <p:nvPr/>
        </p:nvSpPr>
        <p:spPr>
          <a:xfrm>
            <a:off x="124455" y="822121"/>
            <a:ext cx="8006711" cy="1031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buClr>
                <a:schemeClr val="bg1"/>
              </a:buClr>
              <a:buSzPts val="1800"/>
            </a:pPr>
            <a:r>
              <a:rPr lang="pt-BR" sz="2800" b="1" dirty="0"/>
              <a:t>PAC 2050:</a:t>
            </a:r>
            <a:endParaRPr lang="en-US" sz="2800" b="1" dirty="0"/>
          </a:p>
          <a:p>
            <a:pPr algn="just">
              <a:spcAft>
                <a:spcPts val="600"/>
              </a:spcAft>
              <a:buClr>
                <a:schemeClr val="bg1"/>
              </a:buClr>
              <a:buSzPts val="1800"/>
            </a:pPr>
            <a:endParaRPr lang="en-US" sz="2800" b="1" dirty="0">
              <a:sym typeface="Verdana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62044A1-62F2-49FD-ACA6-A5F3FB5466C4}"/>
              </a:ext>
            </a:extLst>
          </p:cNvPr>
          <p:cNvSpPr txBox="1"/>
          <p:nvPr/>
        </p:nvSpPr>
        <p:spPr>
          <a:xfrm>
            <a:off x="124455" y="1337646"/>
            <a:ext cx="118102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Prazo para elaboração do Plano: </a:t>
            </a:r>
            <a:r>
              <a:rPr lang="pt-BR" sz="2000" dirty="0"/>
              <a:t>O Decreto nº 65.881/2021 dá 12 meses de prazo, ou seja, o Plano tem de ser entregue à população até </a:t>
            </a:r>
            <a:r>
              <a:rPr lang="pt-BR" sz="2000" dirty="0">
                <a:solidFill>
                  <a:srgbClr val="FF0000"/>
                </a:solidFill>
              </a:rPr>
              <a:t>Julho de 2022</a:t>
            </a:r>
            <a:r>
              <a:rPr lang="pt-BR" sz="2000" dirty="0"/>
              <a:t>;</a:t>
            </a:r>
          </a:p>
          <a:p>
            <a:endParaRPr lang="pt-BR" sz="2000" dirty="0"/>
          </a:p>
          <a:p>
            <a:r>
              <a:rPr lang="pt-BR" sz="2000" dirty="0"/>
              <a:t>O Plano está sendo elaborado em duas etapas:</a:t>
            </a:r>
          </a:p>
          <a:p>
            <a:r>
              <a:rPr lang="pt-BR" sz="2000" dirty="0"/>
              <a:t>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3158536-E773-4580-8E6D-90BC97549E5C}"/>
              </a:ext>
            </a:extLst>
          </p:cNvPr>
          <p:cNvSpPr txBox="1"/>
          <p:nvPr/>
        </p:nvSpPr>
        <p:spPr>
          <a:xfrm>
            <a:off x="386889" y="2798893"/>
            <a:ext cx="1154782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1ª COP 26 / Glasgow (novembro de 2021 )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pt-BR" sz="2000" b="1" dirty="0">
                <a:solidFill>
                  <a:srgbClr val="FF0000"/>
                </a:solidFill>
              </a:rPr>
              <a:t>Diretrizes</a:t>
            </a:r>
            <a:r>
              <a:rPr lang="pt-BR" sz="2000" dirty="0"/>
              <a:t> – Caráter político direcionador;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pt-BR" sz="2000" dirty="0"/>
              <a:t>Visão ampla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pt-BR" sz="2000" dirty="0"/>
              <a:t>Compromisso de SP (Setembro de 2021 – fim da Consulta Pública)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pt-BR" sz="2000" b="1" dirty="0" err="1"/>
              <a:t>Obs</a:t>
            </a:r>
            <a:r>
              <a:rPr lang="pt-BR" sz="2000" b="1" dirty="0"/>
              <a:t>: </a:t>
            </a:r>
            <a:r>
              <a:rPr lang="pt-BR" sz="2000" dirty="0"/>
              <a:t>Acordo prévio sobre o que devemos/podemos fazer para SP Zero Carbono em 2050</a:t>
            </a:r>
          </a:p>
          <a:p>
            <a:endParaRPr lang="pt-BR" sz="2000" b="1" dirty="0"/>
          </a:p>
          <a:p>
            <a:r>
              <a:rPr lang="pt-BR" sz="2000" b="1" dirty="0"/>
              <a:t>2ª - Entregar o Plano (Julho de 2022)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pt-BR" sz="2000" dirty="0"/>
              <a:t>Documento detalhado – Caráter executivo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pt-BR" sz="2000" dirty="0"/>
              <a:t>Foco nas rotas que irão conduzir ao Zero carbono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pt-BR" sz="2000" dirty="0"/>
              <a:t>Adaptativo: capacidade de responder aos desafios ao longo do tempo de execução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sz="2000" b="1" dirty="0" err="1"/>
              <a:t>Obs</a:t>
            </a:r>
            <a:r>
              <a:rPr lang="pt-BR" sz="2000" b="1" dirty="0"/>
              <a:t>: </a:t>
            </a:r>
            <a:r>
              <a:rPr lang="pt-BR" sz="2000" dirty="0"/>
              <a:t>Com base nas Diretrizes do PAC/COP26, detalhar as ações que devem ser executadas até 2050;</a:t>
            </a:r>
          </a:p>
          <a:p>
            <a:endParaRPr lang="pt-BR" sz="2000" dirty="0"/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82DE8D34-D36B-47AA-BD1D-452C1EF7C8A1}"/>
              </a:ext>
            </a:extLst>
          </p:cNvPr>
          <p:cNvSpPr txBox="1">
            <a:spLocks/>
          </p:cNvSpPr>
          <p:nvPr/>
        </p:nvSpPr>
        <p:spPr>
          <a:xfrm>
            <a:off x="0" y="7691"/>
            <a:ext cx="12192000" cy="81443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algn="ctr"/>
            <a:r>
              <a:rPr lang="pt-BR" sz="4000" dirty="0">
                <a:latin typeface="+mj-lt"/>
              </a:rPr>
              <a:t>CONSEMA - Comissão de Políticas Públicas (CTPP)</a:t>
            </a:r>
          </a:p>
        </p:txBody>
      </p:sp>
    </p:spTree>
    <p:extLst>
      <p:ext uri="{BB962C8B-B14F-4D97-AF65-F5344CB8AC3E}">
        <p14:creationId xmlns:p14="http://schemas.microsoft.com/office/powerpoint/2010/main" val="908714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89CD491-7D19-4460-9A3B-1258AE8DF0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489CD491-7D19-4460-9A3B-1258AE8DF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aixaDeTexto 13">
            <a:extLst>
              <a:ext uri="{FF2B5EF4-FFF2-40B4-BE49-F238E27FC236}">
                <a16:creationId xmlns:a16="http://schemas.microsoft.com/office/drawing/2014/main" id="{6B18A731-0D31-4A27-AFE1-89345925FBA3}"/>
              </a:ext>
            </a:extLst>
          </p:cNvPr>
          <p:cNvSpPr txBox="1"/>
          <p:nvPr/>
        </p:nvSpPr>
        <p:spPr>
          <a:xfrm>
            <a:off x="17220" y="1030275"/>
            <a:ext cx="1175253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u="sng" dirty="0"/>
              <a:t>1ª Etapa: momento atual</a:t>
            </a:r>
          </a:p>
          <a:p>
            <a:pPr marL="800100" lvl="2" indent="-342900">
              <a:buFont typeface="Wingdings" panose="05000000000000000000" pitchFamily="2" charset="2"/>
              <a:buChar char="§"/>
            </a:pPr>
            <a:r>
              <a:rPr lang="pt-BR" sz="2000" b="1" dirty="0"/>
              <a:t>Consultas públicas a partir do sítio eletrônico da SIMA;</a:t>
            </a:r>
          </a:p>
          <a:p>
            <a:pPr marL="800100" lvl="2" indent="-342900">
              <a:buFont typeface="Wingdings" panose="05000000000000000000" pitchFamily="2" charset="2"/>
              <a:buChar char="§"/>
            </a:pPr>
            <a:endParaRPr lang="pt-BR" sz="2000" b="1" dirty="0"/>
          </a:p>
          <a:p>
            <a:pPr marL="800100" lvl="2" indent="-342900">
              <a:buFont typeface="Wingdings" panose="05000000000000000000" pitchFamily="2" charset="2"/>
              <a:buChar char="§"/>
            </a:pPr>
            <a:r>
              <a:rPr lang="pt-BR" sz="2000" b="1" dirty="0"/>
              <a:t>Diálogo com a sociedade no CONSEMA;</a:t>
            </a:r>
          </a:p>
          <a:p>
            <a:pPr marL="800100" lvl="2" indent="-342900">
              <a:buFont typeface="Wingdings" panose="05000000000000000000" pitchFamily="2" charset="2"/>
              <a:buChar char="§"/>
            </a:pPr>
            <a:endParaRPr lang="pt-BR" sz="2000" b="1" dirty="0"/>
          </a:p>
          <a:p>
            <a:pPr marL="800100" lvl="2" indent="-342900">
              <a:buFont typeface="Wingdings" panose="05000000000000000000" pitchFamily="2" charset="2"/>
              <a:buChar char="§"/>
            </a:pPr>
            <a:r>
              <a:rPr lang="pt-BR" sz="2000" b="1" dirty="0"/>
              <a:t>Divulgação pública e diálogos com setores organizados da sociedade;</a:t>
            </a:r>
            <a:endParaRPr lang="pt-BR" sz="2000" dirty="0"/>
          </a:p>
          <a:p>
            <a:endParaRPr lang="pt-BR" sz="2000" dirty="0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05074101-9561-485C-8281-2B9CBEB5D12A}"/>
              </a:ext>
            </a:extLst>
          </p:cNvPr>
          <p:cNvSpPr txBox="1"/>
          <p:nvPr/>
        </p:nvSpPr>
        <p:spPr>
          <a:xfrm>
            <a:off x="978569" y="3519401"/>
            <a:ext cx="11118356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u="sng" dirty="0"/>
              <a:t>2ª Etapa: pós COP 26</a:t>
            </a:r>
          </a:p>
          <a:p>
            <a:pPr lvl="1"/>
            <a:r>
              <a:rPr lang="pt-BR" sz="2000" b="1" dirty="0"/>
              <a:t>Estruturação da Proposta com base no Documento de Diretrizes</a:t>
            </a:r>
          </a:p>
          <a:p>
            <a:pPr lvl="1"/>
            <a:endParaRPr lang="pt-BR" sz="2000" b="1" dirty="0"/>
          </a:p>
          <a:p>
            <a:pPr lvl="1"/>
            <a:r>
              <a:rPr lang="pt-BR" sz="2000" b="1" dirty="0"/>
              <a:t>A proposta deve contemplar: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pt-BR" sz="2000" b="1" dirty="0"/>
              <a:t>Base técnica e viabilidade operacional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pt-BR" sz="2000" b="1" dirty="0"/>
              <a:t>Calendário de atividades, contendo consultas públicas (setoriais);</a:t>
            </a:r>
          </a:p>
          <a:p>
            <a:pPr lvl="1"/>
            <a:endParaRPr lang="pt-BR" sz="2000" b="1" dirty="0"/>
          </a:p>
          <a:p>
            <a:pPr lvl="1"/>
            <a:r>
              <a:rPr lang="pt-BR" sz="2000" b="1" dirty="0"/>
              <a:t>Diálogo com a sociedade para definição das estratégias do Plano.</a:t>
            </a:r>
            <a:r>
              <a:rPr lang="pt-BR" sz="2000" dirty="0"/>
              <a:t> 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771791E5-FA29-451C-92A9-AE852BC4B322}"/>
              </a:ext>
            </a:extLst>
          </p:cNvPr>
          <p:cNvSpPr txBox="1">
            <a:spLocks/>
          </p:cNvSpPr>
          <p:nvPr/>
        </p:nvSpPr>
        <p:spPr>
          <a:xfrm>
            <a:off x="0" y="7691"/>
            <a:ext cx="12192000" cy="81443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algn="ctr"/>
            <a:r>
              <a:rPr lang="pt-BR" sz="4000" dirty="0">
                <a:latin typeface="+mj-lt"/>
              </a:rPr>
              <a:t>CONSEMA - Comissão de Políticas Públicas (CTPP)</a:t>
            </a:r>
          </a:p>
        </p:txBody>
      </p:sp>
    </p:spTree>
    <p:extLst>
      <p:ext uri="{BB962C8B-B14F-4D97-AF65-F5344CB8AC3E}">
        <p14:creationId xmlns:p14="http://schemas.microsoft.com/office/powerpoint/2010/main" val="920378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gcc31b51cb8_0_0"/>
          <p:cNvSpPr txBox="1"/>
          <p:nvPr/>
        </p:nvSpPr>
        <p:spPr>
          <a:xfrm>
            <a:off x="319595" y="2921022"/>
            <a:ext cx="11683014" cy="1153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t" anchorCtr="0">
            <a:spAutoFit/>
          </a:bodyPr>
          <a:lstStyle/>
          <a:p>
            <a:pPr marL="403433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  <a:p>
            <a:pPr marL="75643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50"/>
              <a:buFontTx/>
              <a:buNone/>
              <a:tabLst/>
              <a:defRPr/>
            </a:pPr>
            <a:endParaRPr kumimoji="0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Google Shape;63;gcc31b51cb8_0_0"/>
          <p:cNvSpPr txBox="1"/>
          <p:nvPr/>
        </p:nvSpPr>
        <p:spPr>
          <a:xfrm>
            <a:off x="0" y="649427"/>
            <a:ext cx="8970989" cy="1366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íntese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o document de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trizes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 </a:t>
            </a:r>
          </a:p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rutura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nco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3200" b="1" dirty="0">
                <a:solidFill>
                  <a:srgbClr val="000000"/>
                </a:solidFill>
                <a:latin typeface="Calibri"/>
              </a:rPr>
              <a:t>e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xos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10E444A-369F-4AAB-99BD-5DF845FFE96F}"/>
              </a:ext>
            </a:extLst>
          </p:cNvPr>
          <p:cNvSpPr txBox="1"/>
          <p:nvPr/>
        </p:nvSpPr>
        <p:spPr>
          <a:xfrm>
            <a:off x="189391" y="2405929"/>
            <a:ext cx="1195822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UcParenR"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ção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pt-BR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)  Eixos: </a:t>
            </a:r>
            <a:r>
              <a: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Contexto; Ganhos/avanços; Impactos político-institucionais; Metas) </a:t>
            </a:r>
          </a:p>
          <a:p>
            <a:pPr marL="9715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etrificação Acelerada </a:t>
            </a:r>
          </a:p>
          <a:p>
            <a:pPr marL="9715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bustíveis Avançados</a:t>
            </a:r>
          </a:p>
          <a:p>
            <a:pPr marL="9715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iciência Sistêmica</a:t>
            </a:r>
          </a:p>
          <a:p>
            <a:pPr marL="9715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iliência e Soluções Baseadas na Natureza</a:t>
            </a:r>
          </a:p>
          <a:p>
            <a:pPr marL="9715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ças verdes e inovaçã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1E2AA88A-28C7-49AC-9193-C95DCD6E37F9}"/>
              </a:ext>
            </a:extLst>
          </p:cNvPr>
          <p:cNvSpPr txBox="1">
            <a:spLocks/>
          </p:cNvSpPr>
          <p:nvPr/>
        </p:nvSpPr>
        <p:spPr>
          <a:xfrm>
            <a:off x="0" y="7691"/>
            <a:ext cx="12192000" cy="58592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algn="ctr"/>
            <a:r>
              <a:rPr lang="pt-BR" sz="4000" dirty="0">
                <a:latin typeface="+mj-lt"/>
              </a:rPr>
              <a:t>CONSEMA - Comissão de Políticas Públicas (CTPP)</a:t>
            </a:r>
          </a:p>
        </p:txBody>
      </p:sp>
      <p:pic>
        <p:nvPicPr>
          <p:cNvPr id="8" name="Gráfico 7" descr="USB">
            <a:extLst>
              <a:ext uri="{FF2B5EF4-FFF2-40B4-BE49-F238E27FC236}">
                <a16:creationId xmlns:a16="http://schemas.microsoft.com/office/drawing/2014/main" id="{D8889763-FD49-4DBE-BDA2-CC9CBC51C5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6000" y="1835898"/>
            <a:ext cx="827577" cy="827577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FCE168C5-4ACC-43C7-AAFC-730B215C17EA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23577" y="1942217"/>
            <a:ext cx="946469" cy="614938"/>
          </a:xfrm>
          <a:prstGeom prst="rect">
            <a:avLst/>
          </a:prstGeom>
        </p:spPr>
      </p:pic>
      <p:pic>
        <p:nvPicPr>
          <p:cNvPr id="10" name="Gráfico 9" descr="Sustentabilidade">
            <a:extLst>
              <a:ext uri="{FF2B5EF4-FFF2-40B4-BE49-F238E27FC236}">
                <a16:creationId xmlns:a16="http://schemas.microsoft.com/office/drawing/2014/main" id="{0652A10D-2BBF-41AF-B961-6C76E90FC2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51154" y="1833273"/>
            <a:ext cx="830202" cy="830202"/>
          </a:xfrm>
          <a:prstGeom prst="rect">
            <a:avLst/>
          </a:prstGeom>
        </p:spPr>
      </p:pic>
      <p:pic>
        <p:nvPicPr>
          <p:cNvPr id="11" name="Gráfico 10" descr="Árvore decídua">
            <a:extLst>
              <a:ext uri="{FF2B5EF4-FFF2-40B4-BE49-F238E27FC236}">
                <a16:creationId xmlns:a16="http://schemas.microsoft.com/office/drawing/2014/main" id="{EA994BA9-9C6D-4FEB-85A7-8FD4B9BF5B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85881" y="1898926"/>
            <a:ext cx="698896" cy="698896"/>
          </a:xfrm>
          <a:prstGeom prst="rect">
            <a:avLst/>
          </a:prstGeom>
        </p:spPr>
      </p:pic>
      <p:pic>
        <p:nvPicPr>
          <p:cNvPr id="12" name="Gráfico 11" descr="Dinheiro">
            <a:extLst>
              <a:ext uri="{FF2B5EF4-FFF2-40B4-BE49-F238E27FC236}">
                <a16:creationId xmlns:a16="http://schemas.microsoft.com/office/drawing/2014/main" id="{9F7583D7-1A96-4A92-AB9B-7C07CEC8A4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609517" y="1794386"/>
            <a:ext cx="869090" cy="869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5006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6C292F64-420F-4473-A1B8-72C766E2F5A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58592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algn="ctr"/>
            <a:r>
              <a:rPr lang="pt-BR" sz="4000" dirty="0">
                <a:latin typeface="+mj-lt"/>
              </a:rPr>
              <a:t>CONSEMA - Comissão de Políticas Públicas (CTPP)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5E89EEAF-605C-4956-8F2A-526343F3DEF3}"/>
              </a:ext>
            </a:extLst>
          </p:cNvPr>
          <p:cNvSpPr txBox="1"/>
          <p:nvPr/>
        </p:nvSpPr>
        <p:spPr>
          <a:xfrm>
            <a:off x="3489820" y="3200243"/>
            <a:ext cx="49355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chemeClr val="accent5">
                    <a:lumMod val="75000"/>
                  </a:schemeClr>
                </a:solidFill>
              </a:rPr>
              <a:t>CONTRIBUIÇÕES - CTPP</a:t>
            </a:r>
          </a:p>
        </p:txBody>
      </p:sp>
    </p:spTree>
    <p:extLst>
      <p:ext uri="{BB962C8B-B14F-4D97-AF65-F5344CB8AC3E}">
        <p14:creationId xmlns:p14="http://schemas.microsoft.com/office/powerpoint/2010/main" val="12258999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B331C636-9A27-41ED-8161-F8D90A6217E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58592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algn="ctr"/>
            <a:r>
              <a:rPr lang="pt-BR" sz="4000" dirty="0">
                <a:latin typeface="+mj-lt"/>
              </a:rPr>
              <a:t>CONSEMA - Comissão de Políticas Públicas (CTPP)</a:t>
            </a:r>
          </a:p>
        </p:txBody>
      </p:sp>
      <p:graphicFrame>
        <p:nvGraphicFramePr>
          <p:cNvPr id="3" name="Tabela 4">
            <a:extLst>
              <a:ext uri="{FF2B5EF4-FFF2-40B4-BE49-F238E27FC236}">
                <a16:creationId xmlns:a16="http://schemas.microsoft.com/office/drawing/2014/main" id="{8BFE7833-FAB5-487D-B517-1E4AFD7A28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1990525"/>
              </p:ext>
            </p:extLst>
          </p:nvPr>
        </p:nvGraphicFramePr>
        <p:xfrm>
          <a:off x="145256" y="761738"/>
          <a:ext cx="11901487" cy="36518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5372">
                  <a:extLst>
                    <a:ext uri="{9D8B030D-6E8A-4147-A177-3AD203B41FA5}">
                      <a16:colId xmlns:a16="http://schemas.microsoft.com/office/drawing/2014/main" val="3271184064"/>
                    </a:ext>
                  </a:extLst>
                </a:gridCol>
                <a:gridCol w="6147529">
                  <a:extLst>
                    <a:ext uri="{9D8B030D-6E8A-4147-A177-3AD203B41FA5}">
                      <a16:colId xmlns:a16="http://schemas.microsoft.com/office/drawing/2014/main" val="2309526793"/>
                    </a:ext>
                  </a:extLst>
                </a:gridCol>
                <a:gridCol w="4548586">
                  <a:extLst>
                    <a:ext uri="{9D8B030D-6E8A-4147-A177-3AD203B41FA5}">
                      <a16:colId xmlns:a16="http://schemas.microsoft.com/office/drawing/2014/main" val="2852115672"/>
                    </a:ext>
                  </a:extLst>
                </a:gridCol>
              </a:tblGrid>
              <a:tr h="368726">
                <a:tc>
                  <a:txBody>
                    <a:bodyPr/>
                    <a:lstStyle/>
                    <a:p>
                      <a:pPr algn="ctr"/>
                      <a:r>
                        <a:rPr lang="pt-BR" dirty="0"/>
                        <a:t>Dat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/>
                        <a:t>Eix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/>
                        <a:t>Responsáve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6304645"/>
                  </a:ext>
                </a:extLst>
              </a:tr>
              <a:tr h="368726"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10/08</a:t>
                      </a:r>
                    </a:p>
                    <a:p>
                      <a:pPr algn="ctr"/>
                      <a:r>
                        <a:rPr lang="pt-BR" b="0" dirty="0"/>
                        <a:t>33ª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Eletrificação Acelerada + Combustíveis Avançado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 (1 de 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/>
                        <a:t>Professor </a:t>
                      </a:r>
                      <a:r>
                        <a:rPr lang="pt-BR" dirty="0" err="1"/>
                        <a:t>Mierzwa</a:t>
                      </a:r>
                      <a:r>
                        <a:rPr lang="pt-BR" dirty="0"/>
                        <a:t>/USP</a:t>
                      </a:r>
                    </a:p>
                    <a:p>
                      <a:pPr algn="ctr"/>
                      <a:r>
                        <a:rPr lang="pt-BR" dirty="0"/>
                        <a:t>+ </a:t>
                      </a:r>
                      <a:r>
                        <a:rPr lang="pt-BR" dirty="0" err="1"/>
                        <a:t>Anicia</a:t>
                      </a:r>
                      <a:r>
                        <a:rPr lang="pt-BR" dirty="0"/>
                        <a:t> / FIES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0020771"/>
                  </a:ext>
                </a:extLst>
              </a:tr>
              <a:tr h="368726"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17/08</a:t>
                      </a:r>
                    </a:p>
                    <a:p>
                      <a:pPr algn="ctr"/>
                      <a:r>
                        <a:rPr lang="pt-BR" b="0" dirty="0"/>
                        <a:t>34ª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Eletrificação Acelerada + Combustíveis Avançado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 (2 de 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/>
                        <a:t>Professor </a:t>
                      </a:r>
                      <a:r>
                        <a:rPr lang="pt-BR" dirty="0" err="1"/>
                        <a:t>Mierzwa</a:t>
                      </a:r>
                      <a:r>
                        <a:rPr lang="pt-BR" dirty="0"/>
                        <a:t>/USP</a:t>
                      </a:r>
                    </a:p>
                    <a:p>
                      <a:pPr algn="ctr"/>
                      <a:r>
                        <a:rPr lang="pt-BR" dirty="0"/>
                        <a:t>+ </a:t>
                      </a:r>
                      <a:r>
                        <a:rPr lang="pt-BR" dirty="0" err="1"/>
                        <a:t>Anicia</a:t>
                      </a:r>
                      <a:r>
                        <a:rPr lang="pt-BR" dirty="0"/>
                        <a:t> / FIESP (ANFAVEA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9471923"/>
                  </a:ext>
                </a:extLst>
              </a:tr>
              <a:tr h="722839"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24/08</a:t>
                      </a:r>
                    </a:p>
                    <a:p>
                      <a:pPr algn="ctr"/>
                      <a:r>
                        <a:rPr lang="pt-BR" b="0" dirty="0"/>
                        <a:t>35ª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Resiliência e Soluções Baseadas na Naturez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/>
                        <a:t>Cris </a:t>
                      </a:r>
                      <a:r>
                        <a:rPr lang="pt-BR" dirty="0" err="1"/>
                        <a:t>Murgel</a:t>
                      </a:r>
                      <a:r>
                        <a:rPr lang="pt-BR" dirty="0"/>
                        <a:t>/SAA + Roberto Resende/Iniciativa Verde + Gustavo/FAES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7583521"/>
                  </a:ext>
                </a:extLst>
              </a:tr>
              <a:tr h="368726"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31/08</a:t>
                      </a:r>
                      <a:r>
                        <a:rPr lang="pt-BR" sz="1800" b="1" dirty="0">
                          <a:solidFill>
                            <a:srgbClr val="FF0000"/>
                          </a:solidFill>
                        </a:rPr>
                        <a:t>*</a:t>
                      </a:r>
                    </a:p>
                    <a:p>
                      <a:pPr algn="ctr"/>
                      <a:r>
                        <a:rPr lang="pt-BR" sz="1800" b="0" dirty="0">
                          <a:solidFill>
                            <a:schemeClr val="tx1"/>
                          </a:solidFill>
                        </a:rPr>
                        <a:t>36ª</a:t>
                      </a:r>
                      <a:endParaRPr lang="pt-BR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Finanças verdes e inovação  / </a:t>
                      </a:r>
                      <a:r>
                        <a:rPr lang="pt-BR" sz="1800" b="1" dirty="0">
                          <a:solidFill>
                            <a:srgbClr val="FF0000"/>
                          </a:solidFill>
                        </a:rPr>
                        <a:t>Entrega, ao CONSEMA, das contribuições externas à CT PP **</a:t>
                      </a:r>
                      <a:endParaRPr lang="pt-BR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/>
                        <a:t>Kitty/CPLA + Fittipaldi (</a:t>
                      </a:r>
                      <a:r>
                        <a:rPr lang="pt-BR" dirty="0" err="1"/>
                        <a:t>InvestSP</a:t>
                      </a:r>
                      <a:r>
                        <a:rPr lang="pt-BR" dirty="0"/>
                        <a:t>) + Adriana (SDE)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132784"/>
                  </a:ext>
                </a:extLst>
              </a:tr>
              <a:tr h="368726"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14/09</a:t>
                      </a:r>
                    </a:p>
                    <a:p>
                      <a:pPr algn="ctr"/>
                      <a:r>
                        <a:rPr lang="pt-BR" b="0" dirty="0"/>
                        <a:t>37ª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Trabalho finaliza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/>
                        <a:t>Gil Scatena (SIMA/CPLA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8844567"/>
                  </a:ext>
                </a:extLst>
              </a:tr>
            </a:tbl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616E8F35-B7D2-4AB8-AF8D-C41F9DBF8B8B}"/>
              </a:ext>
            </a:extLst>
          </p:cNvPr>
          <p:cNvSpPr txBox="1"/>
          <p:nvPr/>
        </p:nvSpPr>
        <p:spPr>
          <a:xfrm>
            <a:off x="419450" y="5050173"/>
            <a:ext cx="1152647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Outros debates: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BR" dirty="0"/>
              <a:t>Associação Nacional dos Municípios e Meio Ambiente - ANAMA: 20/08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BR" dirty="0"/>
              <a:t>Federação das Industrias do Estado de São Paulo - FIESP: 30/08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BR" dirty="0"/>
              <a:t>Conselho de Arquitetura e Urbanismo - CAU: 01/09</a:t>
            </a:r>
          </a:p>
          <a:p>
            <a:endParaRPr lang="pt-BR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4E75607-0459-4641-9445-255435C1B1FF}"/>
              </a:ext>
            </a:extLst>
          </p:cNvPr>
          <p:cNvSpPr txBox="1"/>
          <p:nvPr/>
        </p:nvSpPr>
        <p:spPr>
          <a:xfrm>
            <a:off x="145256" y="4508092"/>
            <a:ext cx="119014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FF0000"/>
                </a:solidFill>
              </a:rPr>
              <a:t>* Entrega, ao CONSEMA, das contribuições externas à CT PP | ** Ampliação de prazo para 08/09 (e-mail enviado no dia 03/09)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17812659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3C53A57B-618E-459F-B7A1-676AE1ADE29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97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18" b="1" i="0" kern="12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2pPr>
            <a:lvl3pPr lvl="2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3pPr>
            <a:lvl4pPr lvl="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4pPr>
            <a:lvl5pPr lvl="4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  <a:cs typeface="ヒラギノ角ゴ Pro W3"/>
              </a:defRPr>
            </a:lvl5pPr>
            <a:lvl6pPr marL="457200" lvl="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6pPr>
            <a:lvl7pPr marL="914400" lvl="6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7pPr>
            <a:lvl8pPr marL="1371600" lvl="7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8pPr>
            <a:lvl9pPr marL="1828800" lvl="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tx1"/>
                </a:solidFill>
                <a:latin typeface="Calibri Light" charset="0"/>
                <a:ea typeface="ヒラギノ角ゴ Pro W3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Plano de Ação Climática 2050 -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Race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</a:t>
            </a:r>
            <a:r>
              <a:rPr kumimoji="0" lang="pt-BR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to</a:t>
            </a:r>
            <a:r>
              <a:rPr kumimoji="0" lang="pt-BR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Verdana"/>
                <a:sym typeface="Verdana"/>
              </a:rPr>
              <a:t> Zero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C573EC48-8C48-469F-90D5-FC179B878E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3" y="582742"/>
            <a:ext cx="5764846" cy="156991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58517F2-0A5A-4F6E-951B-509C989BAC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056" y="2263411"/>
            <a:ext cx="5486400" cy="2555141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5BC047A6-8A29-4954-AC08-9DAA79C6B98E}"/>
              </a:ext>
            </a:extLst>
          </p:cNvPr>
          <p:cNvSpPr txBox="1"/>
          <p:nvPr/>
        </p:nvSpPr>
        <p:spPr>
          <a:xfrm>
            <a:off x="5823570" y="666556"/>
            <a:ext cx="6181076" cy="5909310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FF0000"/>
                </a:solidFill>
              </a:rPr>
              <a:t>Transversalidades:</a:t>
            </a:r>
          </a:p>
          <a:p>
            <a:endParaRPr lang="pt-BR" dirty="0">
              <a:solidFill>
                <a:srgbClr val="FF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b="1" dirty="0">
                <a:solidFill>
                  <a:srgbClr val="FF0000"/>
                </a:solidFill>
              </a:rPr>
              <a:t>Eixo 3 e Eixo 5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Explicitar o papel do Eixo 5 na apresentação e agrupar todos os temas de financiamento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Eixo 3, mesma oportunidade?; </a:t>
            </a:r>
          </a:p>
          <a:p>
            <a:pPr lvl="1"/>
            <a:endParaRPr lang="pt-BR" dirty="0">
              <a:solidFill>
                <a:srgbClr val="FF0000"/>
              </a:solidFill>
            </a:endParaRPr>
          </a:p>
          <a:p>
            <a:pPr marL="342900" indent="-342900">
              <a:buAutoNum type="arabicPeriod" startAt="2"/>
            </a:pPr>
            <a:r>
              <a:rPr lang="pt-BR" b="1" dirty="0">
                <a:solidFill>
                  <a:srgbClr val="FF0000"/>
                </a:solidFill>
              </a:rPr>
              <a:t>Governança: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Governança pública e participação social (PEMC): Como o Estado fará a gestão do PAC/PEMC, garantindo a participação social ? 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Transparência no acompanhamento das metas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Clareza sobre as responsabilidades nas ações do futuro plano: cada agente com suas responsabilidades e limites;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Ressaltar o papel dos municípios e regiões;</a:t>
            </a:r>
          </a:p>
          <a:p>
            <a:pPr lvl="1"/>
            <a:endParaRPr lang="pt-BR" dirty="0">
              <a:solidFill>
                <a:srgbClr val="FF0000"/>
              </a:solidFill>
            </a:endParaRPr>
          </a:p>
          <a:p>
            <a:pPr marL="342900" indent="-342900">
              <a:buAutoNum type="arabicPeriod" startAt="3"/>
            </a:pPr>
            <a:r>
              <a:rPr lang="pt-BR" b="1" dirty="0">
                <a:solidFill>
                  <a:srgbClr val="FF0000"/>
                </a:solidFill>
              </a:rPr>
              <a:t>Educação Ambiental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dirty="0">
                <a:solidFill>
                  <a:srgbClr val="FF0000"/>
                </a:solidFill>
              </a:rPr>
              <a:t>Inserir no Plano uma estratégia de Educação Ambiental que contribua para as necessárias mudanças que o Plano deve propor; </a:t>
            </a:r>
          </a:p>
        </p:txBody>
      </p:sp>
    </p:spTree>
    <p:extLst>
      <p:ext uri="{BB962C8B-B14F-4D97-AF65-F5344CB8AC3E}">
        <p14:creationId xmlns:p14="http://schemas.microsoft.com/office/powerpoint/2010/main" val="1436050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WNY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A58DFBD9-89FE-CA43-A63F-ACDE24D3C132}" vid="{782C90FE-E122-884F-AFB9-278F108B5D8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63</TotalTime>
  <Words>1819</Words>
  <Application>Microsoft Office PowerPoint</Application>
  <PresentationFormat>Widescreen</PresentationFormat>
  <Paragraphs>205</Paragraphs>
  <Slides>23</Slides>
  <Notes>7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3</vt:i4>
      </vt:variant>
    </vt:vector>
  </HeadingPairs>
  <TitlesOfParts>
    <vt:vector size="31" baseType="lpstr">
      <vt:lpstr>Arial</vt:lpstr>
      <vt:lpstr>Calibri</vt:lpstr>
      <vt:lpstr>Calibri Light</vt:lpstr>
      <vt:lpstr>Georgia</vt:lpstr>
      <vt:lpstr>Verdana</vt:lpstr>
      <vt:lpstr>Wingdings</vt:lpstr>
      <vt:lpstr>1_Office Them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Gil Kuchembuck Scatena</dc:creator>
  <cp:lastModifiedBy>Rosana Maria Henrique</cp:lastModifiedBy>
  <cp:revision>41</cp:revision>
  <dcterms:created xsi:type="dcterms:W3CDTF">2021-09-01T20:14:34Z</dcterms:created>
  <dcterms:modified xsi:type="dcterms:W3CDTF">2021-10-07T12:25:30Z</dcterms:modified>
</cp:coreProperties>
</file>